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7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8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9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2" r:id="rId5"/>
    <p:sldMasterId id="2147483864" r:id="rId6"/>
    <p:sldMasterId id="2147483681" r:id="rId7"/>
    <p:sldMasterId id="2147483689" r:id="rId8"/>
    <p:sldMasterId id="2147483716" r:id="rId9"/>
    <p:sldMasterId id="2147483988" r:id="rId10"/>
    <p:sldMasterId id="2147484007" r:id="rId11"/>
    <p:sldMasterId id="2147484030" r:id="rId12"/>
  </p:sldMasterIdLst>
  <p:notesMasterIdLst>
    <p:notesMasterId r:id="rId31"/>
  </p:notesMasterIdLst>
  <p:handoutMasterIdLst>
    <p:handoutMasterId r:id="rId32"/>
  </p:handoutMasterIdLst>
  <p:sldIdLst>
    <p:sldId id="2147472259" r:id="rId13"/>
    <p:sldId id="2147481053" r:id="rId14"/>
    <p:sldId id="2147472181" r:id="rId15"/>
    <p:sldId id="2147481067" r:id="rId16"/>
    <p:sldId id="2147481068" r:id="rId17"/>
    <p:sldId id="2147481069" r:id="rId18"/>
    <p:sldId id="2147481075" r:id="rId19"/>
    <p:sldId id="2147481070" r:id="rId20"/>
    <p:sldId id="2147481071" r:id="rId21"/>
    <p:sldId id="2147481084" r:id="rId22"/>
    <p:sldId id="2147481082" r:id="rId23"/>
    <p:sldId id="2147481088" r:id="rId24"/>
    <p:sldId id="2147472277" r:id="rId25"/>
    <p:sldId id="2147481092" r:id="rId26"/>
    <p:sldId id="2147481072" r:id="rId27"/>
    <p:sldId id="2147472044" r:id="rId28"/>
    <p:sldId id="2147481089" r:id="rId29"/>
    <p:sldId id="2147472262" r:id="rId30"/>
  </p:sldIdLst>
  <p:sldSz cx="12192000" cy="6858000"/>
  <p:notesSz cx="6797675" cy="9872663"/>
  <p:custDataLst>
    <p:tags r:id="rId33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pos="7174" userDrawn="1">
          <p15:clr>
            <a:srgbClr val="A4A3A4"/>
          </p15:clr>
        </p15:guide>
        <p15:guide id="5" orient="horz" pos="30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9F6"/>
    <a:srgbClr val="5C7F9C"/>
    <a:srgbClr val="1D4F78"/>
    <a:srgbClr val="0094D8"/>
    <a:srgbClr val="F2F2F2"/>
    <a:srgbClr val="CAE8F6"/>
    <a:srgbClr val="FFFFFF"/>
    <a:srgbClr val="EDF7F7"/>
    <a:srgbClr val="786BEF"/>
    <a:srgbClr val="786C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1C0205-48F8-4E2C-B31B-A4E063CB0D55}" v="28" dt="2026-02-12T09:56:52.0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222" y="96"/>
      </p:cViewPr>
      <p:guideLst>
        <p:guide pos="3817"/>
        <p:guide pos="7174"/>
        <p:guide orient="horz" pos="302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tags" Target="tags/tag1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EFF19A59-27F9-4D5F-9A78-1FC2D7C74F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4186"/>
          </a:xfrm>
          <a:prstGeom prst="rect">
            <a:avLst/>
          </a:prstGeom>
        </p:spPr>
        <p:txBody>
          <a:bodyPr vert="horz" lIns="90736" tIns="45368" rIns="90736" bIns="45368" rtlCol="0"/>
          <a:lstStyle>
            <a:lvl1pPr algn="l">
              <a:defRPr sz="1200"/>
            </a:lvl1pPr>
          </a:lstStyle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8D38353-3320-4759-A856-8610AED92F8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4186"/>
          </a:xfrm>
          <a:prstGeom prst="rect">
            <a:avLst/>
          </a:prstGeom>
        </p:spPr>
        <p:txBody>
          <a:bodyPr vert="horz" lIns="90736" tIns="45368" rIns="90736" bIns="45368" rtlCol="0"/>
          <a:lstStyle>
            <a:lvl1pPr algn="r">
              <a:defRPr sz="1200"/>
            </a:lvl1pPr>
          </a:lstStyle>
          <a:p>
            <a:fld id="{C7FAE3B6-AEA4-4DC4-B259-3E020BC8A997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BA7833C-64F9-479A-BDC1-F7DCD37721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378477"/>
            <a:ext cx="2946400" cy="494186"/>
          </a:xfrm>
          <a:prstGeom prst="rect">
            <a:avLst/>
          </a:prstGeom>
        </p:spPr>
        <p:txBody>
          <a:bodyPr vert="horz" lIns="90736" tIns="45368" rIns="90736" bIns="4536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9C70AB4-7108-4933-9391-A40CBA5314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9" y="9378477"/>
            <a:ext cx="2946400" cy="494186"/>
          </a:xfrm>
          <a:prstGeom prst="rect">
            <a:avLst/>
          </a:prstGeom>
        </p:spPr>
        <p:txBody>
          <a:bodyPr vert="horz" lIns="90736" tIns="45368" rIns="90736" bIns="45368" rtlCol="0" anchor="b"/>
          <a:lstStyle>
            <a:lvl1pPr algn="r">
              <a:defRPr sz="1200"/>
            </a:lvl1pPr>
          </a:lstStyle>
          <a:p>
            <a:fld id="{D407C9C1-1246-4EFC-8BB5-51B2293CCC1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790878"/>
      </p:ext>
    </p:extLst>
  </p:cSld>
  <p:clrMap bg1="lt1" tx1="dk1" bg2="lt2" tx2="dk2" accent1="accent1" accent2="accent2" accent3="accent3" accent4="accent4" accent5="accent5" accent6="accent6" hlink="hlink" folHlink="folHlink"/>
  <p:hf ftr="0" dt="0"/>
  <p:extLst>
    <p:ext uri="{56416CCD-93CA-4268-BC5B-53C4BB910035}">
      <p15:sldGuideLst xmlns:p15="http://schemas.microsoft.com/office/powerpoint/2012/main">
        <p15:guide id="1" orient="horz" pos="3110" userDrawn="1">
          <p15:clr>
            <a:srgbClr val="F26B43"/>
          </p15:clr>
        </p15:guide>
        <p15:guide id="2" pos="214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679450" y="153666"/>
            <a:ext cx="5438776" cy="494186"/>
          </a:xfrm>
          <a:prstGeom prst="rect">
            <a:avLst/>
          </a:prstGeom>
        </p:spPr>
        <p:txBody>
          <a:bodyPr vert="horz" lIns="90736" tIns="45368" rIns="90736" bIns="45368" rtlCol="0"/>
          <a:lstStyle>
            <a:lvl1pPr algn="ctr">
              <a:defRPr sz="1200"/>
            </a:lvl1pPr>
          </a:lstStyle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682848" y="9224811"/>
            <a:ext cx="1473202" cy="494186"/>
          </a:xfrm>
          <a:prstGeom prst="rect">
            <a:avLst/>
          </a:prstGeom>
        </p:spPr>
        <p:txBody>
          <a:bodyPr vert="horz" lIns="90736" tIns="45368" rIns="90736" bIns="45368" rtlCol="0" anchor="b"/>
          <a:lstStyle>
            <a:lvl1pPr algn="l">
              <a:defRPr sz="1200"/>
            </a:lvl1pPr>
          </a:lstStyle>
          <a:p>
            <a:fld id="{DDAD3D5C-A49C-4E6B-A239-B4E9EA73BA38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1235075"/>
            <a:ext cx="5407025" cy="3041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36" tIns="45368" rIns="90736" bIns="45368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450" y="4750816"/>
            <a:ext cx="5438776" cy="3887173"/>
          </a:xfrm>
          <a:prstGeom prst="rect">
            <a:avLst/>
          </a:prstGeom>
        </p:spPr>
        <p:txBody>
          <a:bodyPr vert="horz" lIns="90736" tIns="45368" rIns="90736" bIns="45368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2662237" y="9224811"/>
            <a:ext cx="1473201" cy="494186"/>
          </a:xfrm>
          <a:prstGeom prst="rect">
            <a:avLst/>
          </a:prstGeom>
        </p:spPr>
        <p:txBody>
          <a:bodyPr vert="horz" lIns="90736" tIns="45368" rIns="90736" bIns="45368" rtlCol="0" anchor="b"/>
          <a:lstStyle>
            <a:lvl1pPr algn="ctr">
              <a:defRPr sz="1200"/>
            </a:lvl1pPr>
          </a:lstStyle>
          <a:p>
            <a:fld id="{AC497CE8-006A-4D39-B790-B2C157C251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715D6FA-7C00-492E-B2A9-CE3FF8084C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888" y="9039714"/>
            <a:ext cx="1056312" cy="67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84932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 </a:t>
            </a:r>
            <a:endParaRPr lang="sv-SE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937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05197E-3DE6-EE69-F310-58AFB7541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B88E89FF-BABB-4FEB-8D19-5DAA857F64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55507806-19CA-B7D7-B3E5-64CF530CD1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i="0"/>
          </a:p>
        </p:txBody>
      </p:sp>
      <p:sp>
        <p:nvSpPr>
          <p:cNvPr id="4" name="Platshållare för sidhuvud 3">
            <a:extLst>
              <a:ext uri="{FF2B5EF4-FFF2-40B4-BE49-F238E27FC236}">
                <a16:creationId xmlns:a16="http://schemas.microsoft.com/office/drawing/2014/main" id="{3E17D706-9211-0272-E57D-0D7FA60E305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E5700A4-7F66-BFAE-4CCC-9971F8E619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4835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133388-27A1-16D3-67F7-64566520E6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CE58CD81-730D-71E8-6AA2-F7B4044616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C0089051-8BB9-AB0D-89B8-E6CC993173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sidhuvud 3">
            <a:extLst>
              <a:ext uri="{FF2B5EF4-FFF2-40B4-BE49-F238E27FC236}">
                <a16:creationId xmlns:a16="http://schemas.microsoft.com/office/drawing/2014/main" id="{BC15D00E-8579-0BC3-63F8-77DBB0F44B1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994B152-D523-FC9C-23E5-301E6605EC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4250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F7C65A-D03B-BB61-C3AA-A934C267A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BD9EBA29-B1B7-3A50-5261-4B0BEE87D0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A9D2AAB5-FD86-8DFF-DD8C-F05ED2878F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sidhuvud 3">
            <a:extLst>
              <a:ext uri="{FF2B5EF4-FFF2-40B4-BE49-F238E27FC236}">
                <a16:creationId xmlns:a16="http://schemas.microsoft.com/office/drawing/2014/main" id="{3D76C02F-DA3F-77DE-EDA2-DE52C5B9DF1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1717374-F71A-29B6-A88D-2CB4448AFC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35217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0587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C </a:t>
            </a:r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4236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BB2B4-5BF3-A2E6-66F0-B65213509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0CD9B93E-BB6C-63A1-BC41-AE35FA7B62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75F19238-6F04-D900-2280-00647406FA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14350" indent="-514350">
              <a:buFont typeface="+mj-lt"/>
              <a:buAutoNum type="romanUcPeriod"/>
            </a:pPr>
            <a:r>
              <a:rPr lang="sv-SE">
                <a:cs typeface="Arial"/>
              </a:rPr>
              <a:t>Innehållet utvecklas efter lägesbild och formuleringarna skärps. Processas i revideringsgrupp. Dialog i flera fora. 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cs typeface="Arial"/>
              </a:rPr>
              <a:t>Processas i revideringsgrupp. Justeras </a:t>
            </a:r>
            <a:r>
              <a:rPr lang="sv-SE" err="1">
                <a:cs typeface="Arial"/>
              </a:rPr>
              <a:t>ev</a:t>
            </a:r>
            <a:r>
              <a:rPr lang="sv-SE">
                <a:cs typeface="Arial"/>
              </a:rPr>
              <a:t> av Peter</a:t>
            </a:r>
          </a:p>
          <a:p>
            <a:pPr marL="514350" indent="-514350">
              <a:buFont typeface="+mj-lt"/>
              <a:buAutoNum type="romanUcPeriod"/>
            </a:pPr>
            <a:r>
              <a:rPr lang="sv-SE" i="1">
                <a:cs typeface="Arial"/>
              </a:rPr>
              <a:t>Processas i revideringsgrupp samt processledargruppen + xx? </a:t>
            </a:r>
            <a:r>
              <a:rPr lang="sv-SE">
                <a:cs typeface="Arial"/>
              </a:rPr>
              <a:t>Intentionen är i första hand registerdata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cs typeface="Arial"/>
              </a:rPr>
              <a:t>Strategiska områdena är kvar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cs typeface="Arial"/>
              </a:rPr>
              <a:t>Processas med respektive strategiskt område: arbetsgrupper, styrgrupper för respektive område</a:t>
            </a:r>
          </a:p>
        </p:txBody>
      </p:sp>
      <p:sp>
        <p:nvSpPr>
          <p:cNvPr id="4" name="Platshållare för sidhuvud 3">
            <a:extLst>
              <a:ext uri="{FF2B5EF4-FFF2-40B4-BE49-F238E27FC236}">
                <a16:creationId xmlns:a16="http://schemas.microsoft.com/office/drawing/2014/main" id="{C9F45CF1-1F0F-0413-55BF-96663069A8B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09D9B5F-FEDA-197D-63D6-A81513D48E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90894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err="1"/>
              <a:t>Fishbowl</a:t>
            </a:r>
            <a:r>
              <a:rPr lang="sv-SE"/>
              <a:t> </a:t>
            </a:r>
            <a:br>
              <a:rPr lang="sv-SE"/>
            </a:br>
            <a:r>
              <a:rPr lang="sv-SE"/>
              <a:t>Jonas </a:t>
            </a:r>
            <a:r>
              <a:rPr lang="sv-SE" err="1"/>
              <a:t>Karles</a:t>
            </a:r>
            <a:br>
              <a:rPr lang="sv-SE"/>
            </a:br>
            <a:r>
              <a:rPr lang="sv-SE"/>
              <a:t>Björn Siesjö</a:t>
            </a:r>
            <a:br>
              <a:rPr lang="sv-SE"/>
            </a:br>
            <a:r>
              <a:rPr lang="sv-SE"/>
              <a:t>Johan </a:t>
            </a:r>
            <a:r>
              <a:rPr lang="sv-SE" err="1"/>
              <a:t>Trouve</a:t>
            </a:r>
            <a:endParaRPr lang="sv-SE"/>
          </a:p>
          <a:p>
            <a:r>
              <a:rPr lang="sv-SE" err="1"/>
              <a:t>Nude</a:t>
            </a:r>
            <a:r>
              <a:rPr lang="sv-SE"/>
              <a:t>?</a:t>
            </a:r>
            <a:br>
              <a:rPr lang="sv-SE"/>
            </a:br>
            <a:r>
              <a:rPr lang="sv-SE"/>
              <a:t>Stena </a:t>
            </a:r>
            <a:r>
              <a:rPr lang="sv-SE" err="1"/>
              <a:t>repr</a:t>
            </a:r>
            <a:r>
              <a:rPr lang="sv-SE"/>
              <a:t> social Hållbarhet-</a:t>
            </a:r>
          </a:p>
          <a:p>
            <a:endParaRPr lang="sv-SE"/>
          </a:p>
          <a:p>
            <a:endParaRPr lang="sv-SE"/>
          </a:p>
          <a:p>
            <a:endParaRPr lang="sv-SE"/>
          </a:p>
          <a:p>
            <a:endParaRPr lang="sv-SE"/>
          </a:p>
          <a:p>
            <a:r>
              <a:rPr lang="sv-SE"/>
              <a:t>Inspirationsföreläsare: </a:t>
            </a:r>
          </a:p>
          <a:p>
            <a:r>
              <a:rPr lang="sv-SE"/>
              <a:t>Inspirera till att kraftsamla för näringslivets behov</a:t>
            </a:r>
            <a:br>
              <a:rPr lang="sv-SE"/>
            </a:br>
            <a:r>
              <a:rPr lang="sv-SE"/>
              <a:t>Öka kunskapen om näringslivets funktion/roll i samhället.</a:t>
            </a:r>
            <a:br>
              <a:rPr lang="sv-SE"/>
            </a:br>
            <a:r>
              <a:rPr lang="sv-SE"/>
              <a:t>Generera - Nytänkande, Samverkan, handlingskraft och mod (värdeord för programarbetet)</a:t>
            </a:r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7096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59B22A-021A-C2A8-1236-E5C607B893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2CD2291E-DDC5-B16B-EF9C-51C5F94BEC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A4E72185-768A-59A7-7729-66F77B6E76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sidhuvud 3">
            <a:extLst>
              <a:ext uri="{FF2B5EF4-FFF2-40B4-BE49-F238E27FC236}">
                <a16:creationId xmlns:a16="http://schemas.microsoft.com/office/drawing/2014/main" id="{6E3D75BD-FA51-A8ED-E61C-B6A2D5CC194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ation för enbart de smartas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C6366C-5BA2-0C8D-FEBE-99913D7DB8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497CE8-006A-4D39-B790-B2C157C2517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546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17.png"/><Relationship Id="rId4" Type="http://schemas.openxmlformats.org/officeDocument/2006/relationships/image" Target="../media/image5.emf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4" Type="http://schemas.openxmlformats.org/officeDocument/2006/relationships/image" Target="../media/image5.emf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5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.xml"/><Relationship Id="rId6" Type="http://schemas.openxmlformats.org/officeDocument/2006/relationships/image" Target="../media/image18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5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5.xml"/><Relationship Id="rId6" Type="http://schemas.openxmlformats.org/officeDocument/2006/relationships/image" Target="../media/image18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8.xml"/><Relationship Id="rId6" Type="http://schemas.openxmlformats.org/officeDocument/2006/relationships/image" Target="../media/image31.svg"/><Relationship Id="rId5" Type="http://schemas.openxmlformats.org/officeDocument/2006/relationships/image" Target="../media/image1.png"/><Relationship Id="rId4" Type="http://schemas.openxmlformats.org/officeDocument/2006/relationships/image" Target="../media/image5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9.xml"/><Relationship Id="rId6" Type="http://schemas.openxmlformats.org/officeDocument/2006/relationships/image" Target="../media/image18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5.emf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image" Target="../media/image15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5.emf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4" Type="http://schemas.openxmlformats.org/officeDocument/2006/relationships/image" Target="../media/image5.emf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CC55F63E-4F63-DCFB-26D5-EF2E9E6D34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2490" y="0"/>
            <a:ext cx="11779510" cy="6862763"/>
          </a:xfrm>
          <a:custGeom>
            <a:avLst/>
            <a:gdLst>
              <a:gd name="connsiteX0" fmla="*/ 1561891 w 11779510"/>
              <a:gd name="connsiteY0" fmla="*/ 0 h 6862763"/>
              <a:gd name="connsiteX1" fmla="*/ 11779510 w 11779510"/>
              <a:gd name="connsiteY1" fmla="*/ 0 h 6862763"/>
              <a:gd name="connsiteX2" fmla="*/ 11779510 w 11779510"/>
              <a:gd name="connsiteY2" fmla="*/ 6862763 h 6862763"/>
              <a:gd name="connsiteX3" fmla="*/ 1669548 w 11779510"/>
              <a:gd name="connsiteY3" fmla="*/ 6862763 h 6862763"/>
              <a:gd name="connsiteX4" fmla="*/ 0 w 11779510"/>
              <a:gd name="connsiteY4" fmla="*/ 4818063 h 6862763"/>
              <a:gd name="connsiteX5" fmla="*/ 1586345 w 11779510"/>
              <a:gd name="connsiteY5" fmla="*/ 2453 h 6862763"/>
              <a:gd name="connsiteX6" fmla="*/ 1560861 w 11779510"/>
              <a:gd name="connsiteY6" fmla="*/ 2424 h 6862763"/>
              <a:gd name="connsiteX0" fmla="*/ 1560861 w 11779510"/>
              <a:gd name="connsiteY0" fmla="*/ 2424 h 6862763"/>
              <a:gd name="connsiteX1" fmla="*/ 11779510 w 11779510"/>
              <a:gd name="connsiteY1" fmla="*/ 0 h 6862763"/>
              <a:gd name="connsiteX2" fmla="*/ 11779510 w 11779510"/>
              <a:gd name="connsiteY2" fmla="*/ 6862763 h 6862763"/>
              <a:gd name="connsiteX3" fmla="*/ 1669548 w 11779510"/>
              <a:gd name="connsiteY3" fmla="*/ 6862763 h 6862763"/>
              <a:gd name="connsiteX4" fmla="*/ 0 w 11779510"/>
              <a:gd name="connsiteY4" fmla="*/ 4818063 h 6862763"/>
              <a:gd name="connsiteX5" fmla="*/ 1586345 w 11779510"/>
              <a:gd name="connsiteY5" fmla="*/ 2453 h 6862763"/>
              <a:gd name="connsiteX6" fmla="*/ 1560861 w 11779510"/>
              <a:gd name="connsiteY6" fmla="*/ 2424 h 6862763"/>
              <a:gd name="connsiteX0" fmla="*/ 1586345 w 11779510"/>
              <a:gd name="connsiteY0" fmla="*/ 2453 h 6862763"/>
              <a:gd name="connsiteX1" fmla="*/ 11779510 w 11779510"/>
              <a:gd name="connsiteY1" fmla="*/ 0 h 6862763"/>
              <a:gd name="connsiteX2" fmla="*/ 11779510 w 11779510"/>
              <a:gd name="connsiteY2" fmla="*/ 6862763 h 6862763"/>
              <a:gd name="connsiteX3" fmla="*/ 1669548 w 11779510"/>
              <a:gd name="connsiteY3" fmla="*/ 6862763 h 6862763"/>
              <a:gd name="connsiteX4" fmla="*/ 0 w 11779510"/>
              <a:gd name="connsiteY4" fmla="*/ 4818063 h 6862763"/>
              <a:gd name="connsiteX5" fmla="*/ 1586345 w 11779510"/>
              <a:gd name="connsiteY5" fmla="*/ 2453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79510" h="6862763">
                <a:moveTo>
                  <a:pt x="1586345" y="2453"/>
                </a:moveTo>
                <a:lnTo>
                  <a:pt x="11779510" y="0"/>
                </a:lnTo>
                <a:lnTo>
                  <a:pt x="11779510" y="6862763"/>
                </a:lnTo>
                <a:lnTo>
                  <a:pt x="1669548" y="6862763"/>
                </a:lnTo>
                <a:lnTo>
                  <a:pt x="0" y="4818063"/>
                </a:lnTo>
                <a:lnTo>
                  <a:pt x="1586345" y="245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DABADD7-0A30-4292-4688-5E6E59E1C6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55EBEFB-B9CF-F7FB-00F2-B3B83F4D9F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7060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4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6F04DD3D-CB7D-7AD5-CC4A-5170CE050E36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0145" y="6356350"/>
            <a:ext cx="1319212" cy="365125"/>
          </a:xfrm>
        </p:spPr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11" name="Bild 10">
            <a:extLst>
              <a:ext uri="{FF2B5EF4-FFF2-40B4-BE49-F238E27FC236}">
                <a16:creationId xmlns:a16="http://schemas.microsoft.com/office/drawing/2014/main" id="{90B169A9-D3DE-A0F0-2C06-C92DB82396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705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17816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D49AEAF1-5BF2-AC7E-AE60-FF01D377CA7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-2"/>
            <a:ext cx="3196473" cy="6858001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3EFD576-5AAC-867D-D907-C3B188DCF35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47C0D395-ECD7-D9E7-7A46-359B73632872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5191757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1/3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C689DC06-CE17-E387-58F9-337FA2D63D8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-2"/>
            <a:ext cx="3196473" cy="68580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15185DC-A05A-34CD-CAF4-85801205C85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8909718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8C8BFD3B-C71D-6F1E-EDEB-9D398C662E2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0" y="-2"/>
            <a:ext cx="3196473" cy="6858001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79EE6303-0237-800F-F9CF-4C2A2B4129AF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3848688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rgbClr val="E0F2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55723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2556162B-8CAF-B770-34D1-76B88B6A40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405639612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rgbClr val="FFFF00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C00BF28B-CC6B-2C5D-1240-488B1C557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15F3BB6-D127-5246-3D09-F92CECC13273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3585688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346725799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0A763847-0FF3-55CD-509C-2B188D1CA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30184528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2 textbox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8">
            <a:extLst>
              <a:ext uri="{FF2B5EF4-FFF2-40B4-BE49-F238E27FC236}">
                <a16:creationId xmlns:a16="http://schemas.microsoft.com/office/drawing/2014/main" id="{6B75D467-998F-D685-0336-B7FCD071A96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769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EC97A58E-D4ED-33D1-0D2B-B9FD4868F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86762831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175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3AF02A2-6452-DFE1-7070-2C403BB2B2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1078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620484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 2 textboxa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innehåll 8">
            <a:extLst>
              <a:ext uri="{FF2B5EF4-FFF2-40B4-BE49-F238E27FC236}">
                <a16:creationId xmlns:a16="http://schemas.microsoft.com/office/drawing/2014/main" id="{012DD56E-C0B2-A1FF-6938-1B399F20EB0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88101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88B9E44F-D8E8-4503-B10F-D7FFE92145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10418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grön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F67896D7-7ED8-613B-BF4D-23D0FEE98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70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896D7-7ED8-613B-BF4D-23D0FEE98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33D36C3-22DF-EE00-D736-DEF64035D73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1680487-8ECC-1281-F984-659829371DB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317480" cy="730250"/>
          </a:xfrm>
        </p:spPr>
        <p:txBody>
          <a:bodyPr vert="horz"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B8ED537C-9BD4-6091-E572-371F077FC53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31658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onat fält och infographic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7">
            <a:extLst>
              <a:ext uri="{FF2B5EF4-FFF2-40B4-BE49-F238E27FC236}">
                <a16:creationId xmlns:a16="http://schemas.microsoft.com/office/drawing/2014/main" id="{BE3939F4-980F-438B-A738-984A96B50FC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5805488"/>
          </a:xfrm>
        </p:spPr>
        <p:txBody>
          <a:bodyPr/>
          <a:lstStyle/>
          <a:p>
            <a:endParaRPr lang="sv-SE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E82C1FC-9A9F-DFD2-41C2-5B013E7BDF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68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82C1FC-9A9F-DFD2-41C2-5B013E7BD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FEC3D090-8EE9-B973-C944-8780931BF5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05488"/>
            <a:ext cx="12192000" cy="1052512"/>
          </a:xfrm>
          <a:solidFill>
            <a:schemeClr val="accent1">
              <a:alpha val="8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/>
              <a:t>     </a:t>
            </a:r>
          </a:p>
        </p:txBody>
      </p:sp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C20C6FE0-DD8F-44C7-1C61-0BD6447269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F611F6A4-9450-F432-2712-B50DFFD3E9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09504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5" name="Platshållare för text 12">
            <a:extLst>
              <a:ext uri="{FF2B5EF4-FFF2-40B4-BE49-F238E27FC236}">
                <a16:creationId xmlns:a16="http://schemas.microsoft.com/office/drawing/2014/main" id="{64123DC2-728F-CF0F-96F8-8FAA6CF054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80808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445CE97E-A6AE-9F5C-1D93-9342E23F14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112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7" name="Platshållare för text 12">
            <a:extLst>
              <a:ext uri="{FF2B5EF4-FFF2-40B4-BE49-F238E27FC236}">
                <a16:creationId xmlns:a16="http://schemas.microsoft.com/office/drawing/2014/main" id="{2DF3AA84-ABFF-BC1E-3333-5C61C7FD39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3413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4A58953E-908B-E036-6337-8AB22F146DAB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D6FDEEB2-F9AC-BC62-0A11-F8E3CCDE9B4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32852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DA09FCB3-41DF-D6F1-FBF6-484175506ED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04156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3">
            <a:extLst>
              <a:ext uri="{FF2B5EF4-FFF2-40B4-BE49-F238E27FC236}">
                <a16:creationId xmlns:a16="http://schemas.microsoft.com/office/drawing/2014/main" id="{6D202FFB-85C2-7E93-D0D2-5D348D63999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75460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8" name="Platshållare för bild 3">
            <a:extLst>
              <a:ext uri="{FF2B5EF4-FFF2-40B4-BE49-F238E27FC236}">
                <a16:creationId xmlns:a16="http://schemas.microsoft.com/office/drawing/2014/main" id="{7F60D9FC-939B-FADB-4354-5025A7172C7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346764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20" name="Rubrik 19">
            <a:extLst>
              <a:ext uri="{FF2B5EF4-FFF2-40B4-BE49-F238E27FC236}">
                <a16:creationId xmlns:a16="http://schemas.microsoft.com/office/drawing/2014/main" id="{F583B662-D433-7A5A-455A-D624813B0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97478339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6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FDDCF29-19EA-8168-EE55-FB1CDD331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87F7868-1FF0-25BE-059F-FD245B16B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D4A9AB4-4EAD-E21F-45DC-B63EC8A74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0DB82C-BC96-CDA0-B810-4C147790C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B9BF076D-E41B-9D50-0DE7-B9EFA5727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78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0C3512A2-1C57-DCA5-DD1C-EF27DEEA72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bild 6">
            <a:extLst>
              <a:ext uri="{FF2B5EF4-FFF2-40B4-BE49-F238E27FC236}">
                <a16:creationId xmlns:a16="http://schemas.microsoft.com/office/drawing/2014/main" id="{B9EC2212-F9A3-51F6-F14F-226FBDABAB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7442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1" name="Platshållare för bild 6">
            <a:extLst>
              <a:ext uri="{FF2B5EF4-FFF2-40B4-BE49-F238E27FC236}">
                <a16:creationId xmlns:a16="http://schemas.microsoft.com/office/drawing/2014/main" id="{74DB19ED-BC10-0A24-A718-42849A015E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09057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2" name="Platshållare för bild 6">
            <a:extLst>
              <a:ext uri="{FF2B5EF4-FFF2-40B4-BE49-F238E27FC236}">
                <a16:creationId xmlns:a16="http://schemas.microsoft.com/office/drawing/2014/main" id="{1C69EDE8-256D-69CF-7E56-54BF86DCB1C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843691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3" name="Platshållare för bild 6">
            <a:extLst>
              <a:ext uri="{FF2B5EF4-FFF2-40B4-BE49-F238E27FC236}">
                <a16:creationId xmlns:a16="http://schemas.microsoft.com/office/drawing/2014/main" id="{D0D6F316-7BCE-4D4E-CA6C-5E5F438EFB9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78325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4" name="Platshållare för bild 6">
            <a:extLst>
              <a:ext uri="{FF2B5EF4-FFF2-40B4-BE49-F238E27FC236}">
                <a16:creationId xmlns:a16="http://schemas.microsoft.com/office/drawing/2014/main" id="{56CAEABF-3087-DD20-A0E6-CACD575E67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1295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5" name="Platshållare för bild 6">
            <a:extLst>
              <a:ext uri="{FF2B5EF4-FFF2-40B4-BE49-F238E27FC236}">
                <a16:creationId xmlns:a16="http://schemas.microsoft.com/office/drawing/2014/main" id="{4346C7EC-D65D-14A5-6CA0-C1FB615956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4759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6" name="Platshållare för bild 6">
            <a:extLst>
              <a:ext uri="{FF2B5EF4-FFF2-40B4-BE49-F238E27FC236}">
                <a16:creationId xmlns:a16="http://schemas.microsoft.com/office/drawing/2014/main" id="{FD3E3ADE-1DF5-89E9-2FB2-902D3F8CC5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0182226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1" name="Platshållare för text 8">
            <a:extLst>
              <a:ext uri="{FF2B5EF4-FFF2-40B4-BE49-F238E27FC236}">
                <a16:creationId xmlns:a16="http://schemas.microsoft.com/office/drawing/2014/main" id="{CDC89450-DF21-0104-80B2-330773F8C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73061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2" name="Platshållare för text 8">
            <a:extLst>
              <a:ext uri="{FF2B5EF4-FFF2-40B4-BE49-F238E27FC236}">
                <a16:creationId xmlns:a16="http://schemas.microsoft.com/office/drawing/2014/main" id="{D198491F-6B28-D6CA-766E-184E796546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07922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3" name="Platshållare för text 8">
            <a:extLst>
              <a:ext uri="{FF2B5EF4-FFF2-40B4-BE49-F238E27FC236}">
                <a16:creationId xmlns:a16="http://schemas.microsoft.com/office/drawing/2014/main" id="{51129A51-6AB9-55DC-46A5-5D1692359F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42783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4" name="Platshållare för text 8">
            <a:extLst>
              <a:ext uri="{FF2B5EF4-FFF2-40B4-BE49-F238E27FC236}">
                <a16:creationId xmlns:a16="http://schemas.microsoft.com/office/drawing/2014/main" id="{4F7BB43D-C510-6D77-0694-0EF652CD7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77644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5" name="Platshållare för text 8">
            <a:extLst>
              <a:ext uri="{FF2B5EF4-FFF2-40B4-BE49-F238E27FC236}">
                <a16:creationId xmlns:a16="http://schemas.microsoft.com/office/drawing/2014/main" id="{91DECD49-06E6-AAA4-F5E8-C876FB7B77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512505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6" name="Platshållare för text 8">
            <a:extLst>
              <a:ext uri="{FF2B5EF4-FFF2-40B4-BE49-F238E27FC236}">
                <a16:creationId xmlns:a16="http://schemas.microsoft.com/office/drawing/2014/main" id="{0423B971-ACF7-63E8-42BC-85AA4EEAEC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47366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7" name="Platshållare för text 8">
            <a:extLst>
              <a:ext uri="{FF2B5EF4-FFF2-40B4-BE49-F238E27FC236}">
                <a16:creationId xmlns:a16="http://schemas.microsoft.com/office/drawing/2014/main" id="{A7B6AB28-470B-80D7-7967-EE0B50035F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182226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8" name="Platshållare för bild 6">
            <a:extLst>
              <a:ext uri="{FF2B5EF4-FFF2-40B4-BE49-F238E27FC236}">
                <a16:creationId xmlns:a16="http://schemas.microsoft.com/office/drawing/2014/main" id="{B988E9D1-A9EE-8536-5E80-4278CC8781F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978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9" name="Platshållare för text 8">
            <a:extLst>
              <a:ext uri="{FF2B5EF4-FFF2-40B4-BE49-F238E27FC236}">
                <a16:creationId xmlns:a16="http://schemas.microsoft.com/office/drawing/2014/main" id="{176CFCE2-E9A5-0CA6-E6BE-E449842FAB4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8200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0" name="Platshållare för bild 6">
            <a:extLst>
              <a:ext uri="{FF2B5EF4-FFF2-40B4-BE49-F238E27FC236}">
                <a16:creationId xmlns:a16="http://schemas.microsoft.com/office/drawing/2014/main" id="{70EFB29D-8BBB-F0AB-75F3-411A2B52546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17442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1" name="Platshållare för bild 6">
            <a:extLst>
              <a:ext uri="{FF2B5EF4-FFF2-40B4-BE49-F238E27FC236}">
                <a16:creationId xmlns:a16="http://schemas.microsoft.com/office/drawing/2014/main" id="{69056CC5-2D14-C0B7-D2DD-298DBA4615A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09057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2" name="Platshållare för bild 6">
            <a:extLst>
              <a:ext uri="{FF2B5EF4-FFF2-40B4-BE49-F238E27FC236}">
                <a16:creationId xmlns:a16="http://schemas.microsoft.com/office/drawing/2014/main" id="{1073DEDC-8888-9BF2-4FED-B0C96E0946D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843691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3" name="Platshållare för bild 6">
            <a:extLst>
              <a:ext uri="{FF2B5EF4-FFF2-40B4-BE49-F238E27FC236}">
                <a16:creationId xmlns:a16="http://schemas.microsoft.com/office/drawing/2014/main" id="{46EAD82B-EA53-D6E7-73AB-4420295184E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178325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4" name="Platshållare för bild 6">
            <a:extLst>
              <a:ext uri="{FF2B5EF4-FFF2-40B4-BE49-F238E27FC236}">
                <a16:creationId xmlns:a16="http://schemas.microsoft.com/office/drawing/2014/main" id="{FE2ED5C7-8454-9DA0-A6DA-23BBECC3579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51295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5" name="Platshållare för bild 6">
            <a:extLst>
              <a:ext uri="{FF2B5EF4-FFF2-40B4-BE49-F238E27FC236}">
                <a16:creationId xmlns:a16="http://schemas.microsoft.com/office/drawing/2014/main" id="{68D9E14D-093E-4000-4926-A0F16DDC8C6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84759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6" name="Platshållare för bild 6">
            <a:extLst>
              <a:ext uri="{FF2B5EF4-FFF2-40B4-BE49-F238E27FC236}">
                <a16:creationId xmlns:a16="http://schemas.microsoft.com/office/drawing/2014/main" id="{EEB69BA5-58C5-1BE7-5B6D-353FD8F76FE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182226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7" name="Platshållare för text 8">
            <a:extLst>
              <a:ext uri="{FF2B5EF4-FFF2-40B4-BE49-F238E27FC236}">
                <a16:creationId xmlns:a16="http://schemas.microsoft.com/office/drawing/2014/main" id="{980EF248-2D30-BBAF-CB51-354FDDA222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173061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8" name="Platshållare för text 8">
            <a:extLst>
              <a:ext uri="{FF2B5EF4-FFF2-40B4-BE49-F238E27FC236}">
                <a16:creationId xmlns:a16="http://schemas.microsoft.com/office/drawing/2014/main" id="{A35629B5-42E0-6E08-C676-8E553166846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07922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9" name="Platshållare för text 8">
            <a:extLst>
              <a:ext uri="{FF2B5EF4-FFF2-40B4-BE49-F238E27FC236}">
                <a16:creationId xmlns:a16="http://schemas.microsoft.com/office/drawing/2014/main" id="{48911B15-5C87-F27E-6202-9A4C808AB65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842783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0" name="Platshållare för text 8">
            <a:extLst>
              <a:ext uri="{FF2B5EF4-FFF2-40B4-BE49-F238E27FC236}">
                <a16:creationId xmlns:a16="http://schemas.microsoft.com/office/drawing/2014/main" id="{6523FF90-B346-B215-7E07-5EAD34AE858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177644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1" name="Platshållare för text 8">
            <a:extLst>
              <a:ext uri="{FF2B5EF4-FFF2-40B4-BE49-F238E27FC236}">
                <a16:creationId xmlns:a16="http://schemas.microsoft.com/office/drawing/2014/main" id="{A2173BD9-995C-9BB3-3E5B-53E1E7E9264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12505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2" name="Platshållare för text 8">
            <a:extLst>
              <a:ext uri="{FF2B5EF4-FFF2-40B4-BE49-F238E27FC236}">
                <a16:creationId xmlns:a16="http://schemas.microsoft.com/office/drawing/2014/main" id="{FF77D1D7-BE9B-FAEE-26D8-193C24AEEEC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847366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3" name="Platshållare för text 8">
            <a:extLst>
              <a:ext uri="{FF2B5EF4-FFF2-40B4-BE49-F238E27FC236}">
                <a16:creationId xmlns:a16="http://schemas.microsoft.com/office/drawing/2014/main" id="{982FC7B8-7C96-FE20-101D-958EFB07150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82226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81035984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Platshållare för bild 8">
            <a:extLst>
              <a:ext uri="{FF2B5EF4-FFF2-40B4-BE49-F238E27FC236}">
                <a16:creationId xmlns:a16="http://schemas.microsoft.com/office/drawing/2014/main" id="{7944C8A2-3E33-B021-611F-A3DD4E355E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DA38DFC8-4FA7-7A97-0BD7-51FEA556E1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6987" y="904875"/>
            <a:ext cx="5677463" cy="49006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93820" y="904875"/>
            <a:ext cx="4328160" cy="49006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DD7E20D4-490E-9B23-F325-0E625AB6CBD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6291406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E5A5430D-617D-B455-262A-06649055720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8B60CD3-57B3-DA07-6036-2587B239D3EA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85212585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40200527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rgbClr val="FBE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C0A7E2AE-C727-1799-5292-AFD120D720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99774088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FBE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D907FCD-A527-0575-B311-28C7FEDCC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60602EF2-20B6-9149-8905-82041C41C2E3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1187635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gul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6F04DD3D-CB7D-7AD5-CC4A-5170CE050E36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FDF6B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47852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33001" y="6356350"/>
            <a:ext cx="1319212" cy="365125"/>
          </a:xfrm>
        </p:spPr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Bild 5">
            <a:extLst>
              <a:ext uri="{FF2B5EF4-FFF2-40B4-BE49-F238E27FC236}">
                <a16:creationId xmlns:a16="http://schemas.microsoft.com/office/drawing/2014/main" id="{7B94F3F8-CA1A-5278-491A-20D16928A2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1724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31738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-3120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0F9CF573-A547-B7C1-8BE6-3D1B7DFD83D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7A2DFAE-4EF6-703D-E5A1-89085E2BFD9E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91666778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18095456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rgbClr val="FF748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rgbClr val="FF748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rgbClr val="FF74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C0A7E2AE-C727-1799-5292-AFD120D720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29166259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FF748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FF748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FF74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15AC4E4-942F-685D-C185-A90EA64B0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0D7C7B9-24BE-B006-FBF9-879204425934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1155716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ros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FFD5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6206"/>
            <a:ext cx="210304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3045"/>
              <a:gd name="connsiteY0" fmla="*/ 2309 h 6864206"/>
              <a:gd name="connsiteX1" fmla="*/ 1670844 w 2103045"/>
              <a:gd name="connsiteY1" fmla="*/ 4817919 h 6864206"/>
              <a:gd name="connsiteX2" fmla="*/ 0 w 2103045"/>
              <a:gd name="connsiteY2" fmla="*/ 6864206 h 6864206"/>
              <a:gd name="connsiteX3" fmla="*/ 2102644 w 2103045"/>
              <a:gd name="connsiteY3" fmla="*/ 6862619 h 6864206"/>
              <a:gd name="connsiteX4" fmla="*/ 2102342 w 2103045"/>
              <a:gd name="connsiteY4" fmla="*/ 0 h 6864206"/>
              <a:gd name="connsiteX5" fmla="*/ 84499 w 210304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04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651" y="2287540"/>
                  <a:pt x="2102342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816205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312965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3562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14F6F1BA-E2CE-1697-347E-2D89B6A0A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3221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rosa ver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E05B1F34-8D33-9D23-F8CC-ACFC2DD09239}"/>
              </a:ext>
            </a:extLst>
          </p:cNvPr>
          <p:cNvSpPr/>
          <p:nvPr userDrawn="1"/>
        </p:nvSpPr>
        <p:spPr>
          <a:xfrm>
            <a:off x="10089357" y="-6206"/>
            <a:ext cx="210304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3045"/>
              <a:gd name="connsiteY0" fmla="*/ 2309 h 6864206"/>
              <a:gd name="connsiteX1" fmla="*/ 1670844 w 2103045"/>
              <a:gd name="connsiteY1" fmla="*/ 4817919 h 6864206"/>
              <a:gd name="connsiteX2" fmla="*/ 0 w 2103045"/>
              <a:gd name="connsiteY2" fmla="*/ 6864206 h 6864206"/>
              <a:gd name="connsiteX3" fmla="*/ 2102644 w 2103045"/>
              <a:gd name="connsiteY3" fmla="*/ 6862619 h 6864206"/>
              <a:gd name="connsiteX4" fmla="*/ 2102342 w 2103045"/>
              <a:gd name="connsiteY4" fmla="*/ 0 h 6864206"/>
              <a:gd name="connsiteX5" fmla="*/ 84499 w 210304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04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651" y="2287540"/>
                  <a:pt x="2102342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08096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0144" y="6356350"/>
            <a:ext cx="258365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FD4F3416-B0ED-3706-3F16-6DCE2B9EA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3211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me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FC2E8098-FE03-25B3-D703-AD1076A097DE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0382378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me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5746C5CD-4415-59B3-EB35-885843EF94E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7257793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79586588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 descr="En bild som visar himmel, utomhus, vatten&#10;&#10;Automatiskt genererad beskrivning">
            <a:extLst>
              <a:ext uri="{FF2B5EF4-FFF2-40B4-BE49-F238E27FC236}">
                <a16:creationId xmlns:a16="http://schemas.microsoft.com/office/drawing/2014/main" id="{3E4D31C9-97AB-40E6-A4E9-CA1C97757C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854"/>
            <a:ext cx="12192000" cy="6867853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48025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59424395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0150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353737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17611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3869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bg>
      <p:bgPr>
        <a:solidFill>
          <a:srgbClr val="9D9C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3499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5587154-BD2A-4F12-8229-6CAEFE689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37394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335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645153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661489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43AAF0FB-5C31-4B7A-B3F0-735ECFED1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14F623A5-22C3-402C-9416-7106F1109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6304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bild hög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77C5ECA8-D09A-D4A0-5CEE-A6E23ED860E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799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AEB936F0-D54F-1CDD-6DBC-E6BFB526072B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3054A72D-FC6F-8AFD-AC0F-E7CD67843196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46364837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716333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himmel, utomhus, bro, vatten&#10;&#10;Automatiskt genererad beskrivning">
            <a:extLst>
              <a:ext uri="{FF2B5EF4-FFF2-40B4-BE49-F238E27FC236}">
                <a16:creationId xmlns:a16="http://schemas.microsoft.com/office/drawing/2014/main" id="{CC5AACF2-0C11-44A9-8380-998FCF707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29"/>
          <a:stretch/>
        </p:blipFill>
        <p:spPr>
          <a:xfrm>
            <a:off x="5181600" y="0"/>
            <a:ext cx="70104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023755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061AA43-8B3E-4F3D-BF22-1A88805544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65" r="21473"/>
          <a:stretch/>
        </p:blipFill>
        <p:spPr>
          <a:xfrm>
            <a:off x="7239000" y="0"/>
            <a:ext cx="4953000" cy="6858000"/>
          </a:xfrm>
          <a:prstGeom prst="rect">
            <a:avLst/>
          </a:prstGeom>
        </p:spPr>
      </p:pic>
      <p:pic>
        <p:nvPicPr>
          <p:cNvPr id="5" name="Bildobjekt 4" descr="En bild som visar himmel, utomhus, vatten, båt&#10;&#10;Automatiskt genererad beskrivning">
            <a:extLst>
              <a:ext uri="{FF2B5EF4-FFF2-40B4-BE49-F238E27FC236}">
                <a16:creationId xmlns:a16="http://schemas.microsoft.com/office/drawing/2014/main" id="{974212FA-6582-48BE-90D5-94F1B701F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27"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101935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utomhus, himmel, scen&#10;&#10;Automatiskt genererad beskrivning">
            <a:extLst>
              <a:ext uri="{FF2B5EF4-FFF2-40B4-BE49-F238E27FC236}">
                <a16:creationId xmlns:a16="http://schemas.microsoft.com/office/drawing/2014/main" id="{16BCD11C-D973-4854-A344-6D550EA1D9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8" b="8910"/>
          <a:stretch/>
        </p:blipFill>
        <p:spPr>
          <a:xfrm>
            <a:off x="3048" y="0"/>
            <a:ext cx="12188952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 descr="Bildresultat fÃ¶r logo business region gÃ¶teborg">
            <a:extLst>
              <a:ext uri="{FF2B5EF4-FFF2-40B4-BE49-F238E27FC236}">
                <a16:creationId xmlns:a16="http://schemas.microsoft.com/office/drawing/2014/main" id="{97F78054-1A5F-49C5-9D0A-650A447FDA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>
                <a:solidFill>
                  <a:schemeClr val="bg1"/>
                </a:solidFill>
              </a:rPr>
            </a:br>
            <a:r>
              <a:rPr lang="sv-SE" sz="1100" cap="all" baseline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82369115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ildresultat fÃ¶r logo business region gÃ¶teborg">
            <a:extLst>
              <a:ext uri="{FF2B5EF4-FFF2-40B4-BE49-F238E27FC236}">
                <a16:creationId xmlns:a16="http://schemas.microsoft.com/office/drawing/2014/main" id="{72EEC8DB-6C4B-4BFC-9598-1332D11D2B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59123257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80000" y="1736728"/>
            <a:ext cx="573480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960000" y="1736728"/>
            <a:ext cx="4752000" cy="4194629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/>
              <a:t>Klicka på ikonen </a:t>
            </a:r>
            <a:br>
              <a:rPr lang="sv-SE"/>
            </a:b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22582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02729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0A763847-0FF3-55CD-509C-2B188D1CA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419117865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2 textbox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8">
            <a:extLst>
              <a:ext uri="{FF2B5EF4-FFF2-40B4-BE49-F238E27FC236}">
                <a16:creationId xmlns:a16="http://schemas.microsoft.com/office/drawing/2014/main" id="{6B75D467-998F-D685-0336-B7FCD071A96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769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EC97A58E-D4ED-33D1-0D2B-B9FD4868F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05462310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175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3AF02A2-6452-DFE1-7070-2C403BB2B2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089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1/3 bild hög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78F7E661-2F72-B632-353C-1519F2665978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1"/>
            <a:ext cx="3196473" cy="6858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AB763A90-E76F-34F5-ED33-A413E29F997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5089467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 2 textboxa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innehåll 8">
            <a:extLst>
              <a:ext uri="{FF2B5EF4-FFF2-40B4-BE49-F238E27FC236}">
                <a16:creationId xmlns:a16="http://schemas.microsoft.com/office/drawing/2014/main" id="{012DD56E-C0B2-A1FF-6938-1B399F20EB0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88101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88B9E44F-D8E8-4503-B10F-D7FFE92145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4845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grön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F67896D7-7ED8-613B-BF4D-23D0FEE98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70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896D7-7ED8-613B-BF4D-23D0FEE98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33D36C3-22DF-EE00-D736-DEF64035D73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1680487-8ECC-1281-F984-659829371DB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317480" cy="730250"/>
          </a:xfrm>
        </p:spPr>
        <p:txBody>
          <a:bodyPr vert="horz"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B8ED537C-9BD4-6091-E572-371F077FC53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9166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onat fält och infographic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7">
            <a:extLst>
              <a:ext uri="{FF2B5EF4-FFF2-40B4-BE49-F238E27FC236}">
                <a16:creationId xmlns:a16="http://schemas.microsoft.com/office/drawing/2014/main" id="{BE3939F4-980F-438B-A738-984A96B50FC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5805488"/>
          </a:xfrm>
        </p:spPr>
        <p:txBody>
          <a:bodyPr/>
          <a:lstStyle/>
          <a:p>
            <a:endParaRPr lang="sv-SE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E82C1FC-9A9F-DFD2-41C2-5B013E7BDF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68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82C1FC-9A9F-DFD2-41C2-5B013E7BD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FEC3D090-8EE9-B973-C944-8780931BF5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05488"/>
            <a:ext cx="12192000" cy="1052512"/>
          </a:xfrm>
          <a:solidFill>
            <a:schemeClr val="accent1">
              <a:alpha val="8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/>
              <a:t>     </a:t>
            </a:r>
          </a:p>
        </p:txBody>
      </p:sp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C20C6FE0-DD8F-44C7-1C61-0BD6447269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F611F6A4-9450-F432-2712-B50DFFD3E9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09504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5" name="Platshållare för text 12">
            <a:extLst>
              <a:ext uri="{FF2B5EF4-FFF2-40B4-BE49-F238E27FC236}">
                <a16:creationId xmlns:a16="http://schemas.microsoft.com/office/drawing/2014/main" id="{64123DC2-728F-CF0F-96F8-8FAA6CF054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80808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445CE97E-A6AE-9F5C-1D93-9342E23F14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112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7" name="Platshållare för text 12">
            <a:extLst>
              <a:ext uri="{FF2B5EF4-FFF2-40B4-BE49-F238E27FC236}">
                <a16:creationId xmlns:a16="http://schemas.microsoft.com/office/drawing/2014/main" id="{2DF3AA84-ABFF-BC1E-3333-5C61C7FD39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3413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4A58953E-908B-E036-6337-8AB22F146DAB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D6FDEEB2-F9AC-BC62-0A11-F8E3CCDE9B4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32852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DA09FCB3-41DF-D6F1-FBF6-484175506ED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04156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3">
            <a:extLst>
              <a:ext uri="{FF2B5EF4-FFF2-40B4-BE49-F238E27FC236}">
                <a16:creationId xmlns:a16="http://schemas.microsoft.com/office/drawing/2014/main" id="{6D202FFB-85C2-7E93-D0D2-5D348D63999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75460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8" name="Platshållare för bild 3">
            <a:extLst>
              <a:ext uri="{FF2B5EF4-FFF2-40B4-BE49-F238E27FC236}">
                <a16:creationId xmlns:a16="http://schemas.microsoft.com/office/drawing/2014/main" id="{7F60D9FC-939B-FADB-4354-5025A7172C7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346764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20" name="Rubrik 19">
            <a:extLst>
              <a:ext uri="{FF2B5EF4-FFF2-40B4-BE49-F238E27FC236}">
                <a16:creationId xmlns:a16="http://schemas.microsoft.com/office/drawing/2014/main" id="{F583B662-D433-7A5A-455A-D624813B0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69775713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6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FDDCF29-19EA-8168-EE55-FB1CDD331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87F7868-1FF0-25BE-059F-FD245B16B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D4A9AB4-4EAD-E21F-45DC-B63EC8A74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0DB82C-BC96-CDA0-B810-4C147790C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B9BF076D-E41B-9D50-0DE7-B9EFA5727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78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0C3512A2-1C57-DCA5-DD1C-EF27DEEA72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bild 6">
            <a:extLst>
              <a:ext uri="{FF2B5EF4-FFF2-40B4-BE49-F238E27FC236}">
                <a16:creationId xmlns:a16="http://schemas.microsoft.com/office/drawing/2014/main" id="{B9EC2212-F9A3-51F6-F14F-226FBDABAB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7442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1" name="Platshållare för bild 6">
            <a:extLst>
              <a:ext uri="{FF2B5EF4-FFF2-40B4-BE49-F238E27FC236}">
                <a16:creationId xmlns:a16="http://schemas.microsoft.com/office/drawing/2014/main" id="{74DB19ED-BC10-0A24-A718-42849A015E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09057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2" name="Platshållare för bild 6">
            <a:extLst>
              <a:ext uri="{FF2B5EF4-FFF2-40B4-BE49-F238E27FC236}">
                <a16:creationId xmlns:a16="http://schemas.microsoft.com/office/drawing/2014/main" id="{1C69EDE8-256D-69CF-7E56-54BF86DCB1C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843691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3" name="Platshållare för bild 6">
            <a:extLst>
              <a:ext uri="{FF2B5EF4-FFF2-40B4-BE49-F238E27FC236}">
                <a16:creationId xmlns:a16="http://schemas.microsoft.com/office/drawing/2014/main" id="{D0D6F316-7BCE-4D4E-CA6C-5E5F438EFB9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78325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4" name="Platshållare för bild 6">
            <a:extLst>
              <a:ext uri="{FF2B5EF4-FFF2-40B4-BE49-F238E27FC236}">
                <a16:creationId xmlns:a16="http://schemas.microsoft.com/office/drawing/2014/main" id="{56CAEABF-3087-DD20-A0E6-CACD575E67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1295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5" name="Platshållare för bild 6">
            <a:extLst>
              <a:ext uri="{FF2B5EF4-FFF2-40B4-BE49-F238E27FC236}">
                <a16:creationId xmlns:a16="http://schemas.microsoft.com/office/drawing/2014/main" id="{4346C7EC-D65D-14A5-6CA0-C1FB615956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4759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6" name="Platshållare för bild 6">
            <a:extLst>
              <a:ext uri="{FF2B5EF4-FFF2-40B4-BE49-F238E27FC236}">
                <a16:creationId xmlns:a16="http://schemas.microsoft.com/office/drawing/2014/main" id="{FD3E3ADE-1DF5-89E9-2FB2-902D3F8CC5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0182226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1" name="Platshållare för text 8">
            <a:extLst>
              <a:ext uri="{FF2B5EF4-FFF2-40B4-BE49-F238E27FC236}">
                <a16:creationId xmlns:a16="http://schemas.microsoft.com/office/drawing/2014/main" id="{CDC89450-DF21-0104-80B2-330773F8C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73061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2" name="Platshållare för text 8">
            <a:extLst>
              <a:ext uri="{FF2B5EF4-FFF2-40B4-BE49-F238E27FC236}">
                <a16:creationId xmlns:a16="http://schemas.microsoft.com/office/drawing/2014/main" id="{D198491F-6B28-D6CA-766E-184E796546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07922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3" name="Platshållare för text 8">
            <a:extLst>
              <a:ext uri="{FF2B5EF4-FFF2-40B4-BE49-F238E27FC236}">
                <a16:creationId xmlns:a16="http://schemas.microsoft.com/office/drawing/2014/main" id="{51129A51-6AB9-55DC-46A5-5D1692359F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42783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4" name="Platshållare för text 8">
            <a:extLst>
              <a:ext uri="{FF2B5EF4-FFF2-40B4-BE49-F238E27FC236}">
                <a16:creationId xmlns:a16="http://schemas.microsoft.com/office/drawing/2014/main" id="{4F7BB43D-C510-6D77-0694-0EF652CD7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77644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5" name="Platshållare för text 8">
            <a:extLst>
              <a:ext uri="{FF2B5EF4-FFF2-40B4-BE49-F238E27FC236}">
                <a16:creationId xmlns:a16="http://schemas.microsoft.com/office/drawing/2014/main" id="{91DECD49-06E6-AAA4-F5E8-C876FB7B77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512505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6" name="Platshållare för text 8">
            <a:extLst>
              <a:ext uri="{FF2B5EF4-FFF2-40B4-BE49-F238E27FC236}">
                <a16:creationId xmlns:a16="http://schemas.microsoft.com/office/drawing/2014/main" id="{0423B971-ACF7-63E8-42BC-85AA4EEAEC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47366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7" name="Platshållare för text 8">
            <a:extLst>
              <a:ext uri="{FF2B5EF4-FFF2-40B4-BE49-F238E27FC236}">
                <a16:creationId xmlns:a16="http://schemas.microsoft.com/office/drawing/2014/main" id="{A7B6AB28-470B-80D7-7967-EE0B50035F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182226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8" name="Platshållare för bild 6">
            <a:extLst>
              <a:ext uri="{FF2B5EF4-FFF2-40B4-BE49-F238E27FC236}">
                <a16:creationId xmlns:a16="http://schemas.microsoft.com/office/drawing/2014/main" id="{B988E9D1-A9EE-8536-5E80-4278CC8781F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978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9" name="Platshållare för text 8">
            <a:extLst>
              <a:ext uri="{FF2B5EF4-FFF2-40B4-BE49-F238E27FC236}">
                <a16:creationId xmlns:a16="http://schemas.microsoft.com/office/drawing/2014/main" id="{176CFCE2-E9A5-0CA6-E6BE-E449842FAB4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8200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0" name="Platshållare för bild 6">
            <a:extLst>
              <a:ext uri="{FF2B5EF4-FFF2-40B4-BE49-F238E27FC236}">
                <a16:creationId xmlns:a16="http://schemas.microsoft.com/office/drawing/2014/main" id="{70EFB29D-8BBB-F0AB-75F3-411A2B52546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17442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1" name="Platshållare för bild 6">
            <a:extLst>
              <a:ext uri="{FF2B5EF4-FFF2-40B4-BE49-F238E27FC236}">
                <a16:creationId xmlns:a16="http://schemas.microsoft.com/office/drawing/2014/main" id="{69056CC5-2D14-C0B7-D2DD-298DBA4615A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09057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2" name="Platshållare för bild 6">
            <a:extLst>
              <a:ext uri="{FF2B5EF4-FFF2-40B4-BE49-F238E27FC236}">
                <a16:creationId xmlns:a16="http://schemas.microsoft.com/office/drawing/2014/main" id="{1073DEDC-8888-9BF2-4FED-B0C96E0946D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843691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3" name="Platshållare för bild 6">
            <a:extLst>
              <a:ext uri="{FF2B5EF4-FFF2-40B4-BE49-F238E27FC236}">
                <a16:creationId xmlns:a16="http://schemas.microsoft.com/office/drawing/2014/main" id="{46EAD82B-EA53-D6E7-73AB-4420295184E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178325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4" name="Platshållare för bild 6">
            <a:extLst>
              <a:ext uri="{FF2B5EF4-FFF2-40B4-BE49-F238E27FC236}">
                <a16:creationId xmlns:a16="http://schemas.microsoft.com/office/drawing/2014/main" id="{FE2ED5C7-8454-9DA0-A6DA-23BBECC3579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51295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5" name="Platshållare för bild 6">
            <a:extLst>
              <a:ext uri="{FF2B5EF4-FFF2-40B4-BE49-F238E27FC236}">
                <a16:creationId xmlns:a16="http://schemas.microsoft.com/office/drawing/2014/main" id="{68D9E14D-093E-4000-4926-A0F16DDC8C6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84759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6" name="Platshållare för bild 6">
            <a:extLst>
              <a:ext uri="{FF2B5EF4-FFF2-40B4-BE49-F238E27FC236}">
                <a16:creationId xmlns:a16="http://schemas.microsoft.com/office/drawing/2014/main" id="{EEB69BA5-58C5-1BE7-5B6D-353FD8F76FE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182226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7" name="Platshållare för text 8">
            <a:extLst>
              <a:ext uri="{FF2B5EF4-FFF2-40B4-BE49-F238E27FC236}">
                <a16:creationId xmlns:a16="http://schemas.microsoft.com/office/drawing/2014/main" id="{980EF248-2D30-BBAF-CB51-354FDDA222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173061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8" name="Platshållare för text 8">
            <a:extLst>
              <a:ext uri="{FF2B5EF4-FFF2-40B4-BE49-F238E27FC236}">
                <a16:creationId xmlns:a16="http://schemas.microsoft.com/office/drawing/2014/main" id="{A35629B5-42E0-6E08-C676-8E553166846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07922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9" name="Platshållare för text 8">
            <a:extLst>
              <a:ext uri="{FF2B5EF4-FFF2-40B4-BE49-F238E27FC236}">
                <a16:creationId xmlns:a16="http://schemas.microsoft.com/office/drawing/2014/main" id="{48911B15-5C87-F27E-6202-9A4C808AB65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842783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0" name="Platshållare för text 8">
            <a:extLst>
              <a:ext uri="{FF2B5EF4-FFF2-40B4-BE49-F238E27FC236}">
                <a16:creationId xmlns:a16="http://schemas.microsoft.com/office/drawing/2014/main" id="{6523FF90-B346-B215-7E07-5EAD34AE858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177644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1" name="Platshållare för text 8">
            <a:extLst>
              <a:ext uri="{FF2B5EF4-FFF2-40B4-BE49-F238E27FC236}">
                <a16:creationId xmlns:a16="http://schemas.microsoft.com/office/drawing/2014/main" id="{A2173BD9-995C-9BB3-3E5B-53E1E7E9264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12505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2" name="Platshållare för text 8">
            <a:extLst>
              <a:ext uri="{FF2B5EF4-FFF2-40B4-BE49-F238E27FC236}">
                <a16:creationId xmlns:a16="http://schemas.microsoft.com/office/drawing/2014/main" id="{FF77D1D7-BE9B-FAEE-26D8-193C24AEEEC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847366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3" name="Platshållare för text 8">
            <a:extLst>
              <a:ext uri="{FF2B5EF4-FFF2-40B4-BE49-F238E27FC236}">
                <a16:creationId xmlns:a16="http://schemas.microsoft.com/office/drawing/2014/main" id="{982FC7B8-7C96-FE20-101D-958EFB07150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82226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98236947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Platshållare för bild 8">
            <a:extLst>
              <a:ext uri="{FF2B5EF4-FFF2-40B4-BE49-F238E27FC236}">
                <a16:creationId xmlns:a16="http://schemas.microsoft.com/office/drawing/2014/main" id="{7944C8A2-3E33-B021-611F-A3DD4E355E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DA38DFC8-4FA7-7A97-0BD7-51FEA556E1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6987" y="904875"/>
            <a:ext cx="5677463" cy="49006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93820" y="904875"/>
            <a:ext cx="4328160" cy="49006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DD7E20D4-490E-9B23-F325-0E625AB6CBD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71319865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E5A5430D-617D-B455-262A-06649055720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8B60CD3-57B3-DA07-6036-2587B239D3EA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70795826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12478387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rgbClr val="FBE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C0A7E2AE-C727-1799-5292-AFD120D720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16252173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FBE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D907FCD-A527-0575-B311-28C7FEDCC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60602EF2-20B6-9149-8905-82041C41C2E3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1082787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gul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6F04DD3D-CB7D-7AD5-CC4A-5170CE050E36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FDF6B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47852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33001" y="6356350"/>
            <a:ext cx="1319212" cy="365125"/>
          </a:xfrm>
        </p:spPr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Bild 5">
            <a:extLst>
              <a:ext uri="{FF2B5EF4-FFF2-40B4-BE49-F238E27FC236}">
                <a16:creationId xmlns:a16="http://schemas.microsoft.com/office/drawing/2014/main" id="{7B94F3F8-CA1A-5278-491A-20D16928A2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9666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39070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1CA92B86-793C-5ED5-732E-74948CFD444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-1" y="1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671A3A55-7F64-9DFF-23A1-DC550A727615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39709235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-3120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0F9CF573-A547-B7C1-8BE6-3D1B7DFD83D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7A2DFAE-4EF6-703D-E5A1-89085E2BFD9E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414637621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01766526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rgbClr val="FF748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rgbClr val="FF748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rgbClr val="FF74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C0A7E2AE-C727-1799-5292-AFD120D720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91299939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FF748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FF748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FF74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15AC4E4-942F-685D-C185-A90EA64B0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0D7C7B9-24BE-B006-FBF9-879204425934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1409543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ros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FFD5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6206"/>
            <a:ext cx="210304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3045"/>
              <a:gd name="connsiteY0" fmla="*/ 2309 h 6864206"/>
              <a:gd name="connsiteX1" fmla="*/ 1670844 w 2103045"/>
              <a:gd name="connsiteY1" fmla="*/ 4817919 h 6864206"/>
              <a:gd name="connsiteX2" fmla="*/ 0 w 2103045"/>
              <a:gd name="connsiteY2" fmla="*/ 6864206 h 6864206"/>
              <a:gd name="connsiteX3" fmla="*/ 2102644 w 2103045"/>
              <a:gd name="connsiteY3" fmla="*/ 6862619 h 6864206"/>
              <a:gd name="connsiteX4" fmla="*/ 2102342 w 2103045"/>
              <a:gd name="connsiteY4" fmla="*/ 0 h 6864206"/>
              <a:gd name="connsiteX5" fmla="*/ 84499 w 210304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04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651" y="2287540"/>
                  <a:pt x="2102342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816205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312965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3562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14F6F1BA-E2CE-1697-347E-2D89B6A0A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16530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rosa ver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E05B1F34-8D33-9D23-F8CC-ACFC2DD09239}"/>
              </a:ext>
            </a:extLst>
          </p:cNvPr>
          <p:cNvSpPr/>
          <p:nvPr userDrawn="1"/>
        </p:nvSpPr>
        <p:spPr>
          <a:xfrm>
            <a:off x="10089357" y="-6206"/>
            <a:ext cx="210304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3045"/>
              <a:gd name="connsiteY0" fmla="*/ 2309 h 6864206"/>
              <a:gd name="connsiteX1" fmla="*/ 1670844 w 2103045"/>
              <a:gd name="connsiteY1" fmla="*/ 4817919 h 6864206"/>
              <a:gd name="connsiteX2" fmla="*/ 0 w 2103045"/>
              <a:gd name="connsiteY2" fmla="*/ 6864206 h 6864206"/>
              <a:gd name="connsiteX3" fmla="*/ 2102644 w 2103045"/>
              <a:gd name="connsiteY3" fmla="*/ 6862619 h 6864206"/>
              <a:gd name="connsiteX4" fmla="*/ 2102342 w 2103045"/>
              <a:gd name="connsiteY4" fmla="*/ 0 h 6864206"/>
              <a:gd name="connsiteX5" fmla="*/ 84499 w 210304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04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651" y="2287540"/>
                  <a:pt x="2102342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08096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0144" y="6356350"/>
            <a:ext cx="258365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FD4F3416-B0ED-3706-3F16-6DCE2B9EA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54828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me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FC2E8098-FE03-25B3-D703-AD1076A097DE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4376228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me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5746C5CD-4415-59B3-EB35-885843EF94E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4162558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408058700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0A763847-0FF3-55CD-509C-2B188D1CA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8584670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44037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2 textbox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8">
            <a:extLst>
              <a:ext uri="{FF2B5EF4-FFF2-40B4-BE49-F238E27FC236}">
                <a16:creationId xmlns:a16="http://schemas.microsoft.com/office/drawing/2014/main" id="{6B75D467-998F-D685-0336-B7FCD071A96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76988" y="1808163"/>
            <a:ext cx="4976811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EC97A58E-D4ED-33D1-0D2B-B9FD4868F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72825202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175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3AF02A2-6452-DFE1-7070-2C403BB2B2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75032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 2 textboxa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94131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innehåll 8">
            <a:extLst>
              <a:ext uri="{FF2B5EF4-FFF2-40B4-BE49-F238E27FC236}">
                <a16:creationId xmlns:a16="http://schemas.microsoft.com/office/drawing/2014/main" id="{012DD56E-C0B2-A1FF-6938-1B399F20EB0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88101" y="1808163"/>
            <a:ext cx="49752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88B9E44F-D8E8-4503-B10F-D7FFE92145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1293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 grön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F67896D7-7ED8-613B-BF4D-23D0FEE98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70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896D7-7ED8-613B-BF4D-23D0FEE98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33D36C3-22DF-EE00-D736-DEF64035D73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1680487-8ECC-1281-F984-659829371DB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317480" cy="730250"/>
          </a:xfrm>
        </p:spPr>
        <p:txBody>
          <a:bodyPr vert="horz"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B8ED537C-9BD4-6091-E572-371F077FC53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3967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onat fält och infographic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7">
            <a:extLst>
              <a:ext uri="{FF2B5EF4-FFF2-40B4-BE49-F238E27FC236}">
                <a16:creationId xmlns:a16="http://schemas.microsoft.com/office/drawing/2014/main" id="{BE3939F4-980F-438B-A738-984A96B50FC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5805488"/>
          </a:xfrm>
        </p:spPr>
        <p:txBody>
          <a:bodyPr/>
          <a:lstStyle/>
          <a:p>
            <a:endParaRPr lang="sv-SE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E82C1FC-9A9F-DFD2-41C2-5B013E7BDF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68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82C1FC-9A9F-DFD2-41C2-5B013E7BD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latshållare för text 18">
            <a:extLst>
              <a:ext uri="{FF2B5EF4-FFF2-40B4-BE49-F238E27FC236}">
                <a16:creationId xmlns:a16="http://schemas.microsoft.com/office/drawing/2014/main" id="{FEC3D090-8EE9-B973-C944-8780931BF5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05488"/>
            <a:ext cx="12192000" cy="1052512"/>
          </a:xfrm>
          <a:solidFill>
            <a:schemeClr val="accent1">
              <a:alpha val="8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sv-SE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sv-SE"/>
              <a:t>     </a:t>
            </a:r>
          </a:p>
        </p:txBody>
      </p:sp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C20C6FE0-DD8F-44C7-1C61-0BD6447269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F611F6A4-9450-F432-2712-B50DFFD3E9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09504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5" name="Platshållare för text 12">
            <a:extLst>
              <a:ext uri="{FF2B5EF4-FFF2-40B4-BE49-F238E27FC236}">
                <a16:creationId xmlns:a16="http://schemas.microsoft.com/office/drawing/2014/main" id="{64123DC2-728F-CF0F-96F8-8FAA6CF054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80808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445CE97E-A6AE-9F5C-1D93-9342E23F14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112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7" name="Platshållare för text 12">
            <a:extLst>
              <a:ext uri="{FF2B5EF4-FFF2-40B4-BE49-F238E27FC236}">
                <a16:creationId xmlns:a16="http://schemas.microsoft.com/office/drawing/2014/main" id="{2DF3AA84-ABFF-BC1E-3333-5C61C7FD39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3413" y="5990788"/>
            <a:ext cx="1828800" cy="68123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4A58953E-908B-E036-6337-8AB22F146DAB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D6FDEEB2-F9AC-BC62-0A11-F8E3CCDE9B4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832852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DA09FCB3-41DF-D6F1-FBF6-484175506ED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04156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3">
            <a:extLst>
              <a:ext uri="{FF2B5EF4-FFF2-40B4-BE49-F238E27FC236}">
                <a16:creationId xmlns:a16="http://schemas.microsoft.com/office/drawing/2014/main" id="{6D202FFB-85C2-7E93-D0D2-5D348D63999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75460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8" name="Platshållare för bild 3">
            <a:extLst>
              <a:ext uri="{FF2B5EF4-FFF2-40B4-BE49-F238E27FC236}">
                <a16:creationId xmlns:a16="http://schemas.microsoft.com/office/drawing/2014/main" id="{7F60D9FC-939B-FADB-4354-5025A7172C7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346764" y="5991225"/>
            <a:ext cx="10800" cy="681038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txBody>
          <a:bodyPr/>
          <a:lstStyle/>
          <a:p>
            <a:endParaRPr lang="sv-SE"/>
          </a:p>
        </p:txBody>
      </p:sp>
      <p:sp>
        <p:nvSpPr>
          <p:cNvPr id="20" name="Rubrik 19">
            <a:extLst>
              <a:ext uri="{FF2B5EF4-FFF2-40B4-BE49-F238E27FC236}">
                <a16:creationId xmlns:a16="http://schemas.microsoft.com/office/drawing/2014/main" id="{F583B662-D433-7A5A-455A-D624813B0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62507348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6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FDDCF29-19EA-8168-EE55-FB1CDD331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87F7868-1FF0-25BE-059F-FD245B16B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D4A9AB4-4EAD-E21F-45DC-B63EC8A74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0DB82C-BC96-CDA0-B810-4C147790C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B9BF076D-E41B-9D50-0DE7-B9EFA5727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78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0C3512A2-1C57-DCA5-DD1C-EF27DEEA72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bild 6">
            <a:extLst>
              <a:ext uri="{FF2B5EF4-FFF2-40B4-BE49-F238E27FC236}">
                <a16:creationId xmlns:a16="http://schemas.microsoft.com/office/drawing/2014/main" id="{B9EC2212-F9A3-51F6-F14F-226FBDABAB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7442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1" name="Platshållare för bild 6">
            <a:extLst>
              <a:ext uri="{FF2B5EF4-FFF2-40B4-BE49-F238E27FC236}">
                <a16:creationId xmlns:a16="http://schemas.microsoft.com/office/drawing/2014/main" id="{74DB19ED-BC10-0A24-A718-42849A015E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09057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2" name="Platshållare för bild 6">
            <a:extLst>
              <a:ext uri="{FF2B5EF4-FFF2-40B4-BE49-F238E27FC236}">
                <a16:creationId xmlns:a16="http://schemas.microsoft.com/office/drawing/2014/main" id="{1C69EDE8-256D-69CF-7E56-54BF86DCB1C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843691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3" name="Platshållare för bild 6">
            <a:extLst>
              <a:ext uri="{FF2B5EF4-FFF2-40B4-BE49-F238E27FC236}">
                <a16:creationId xmlns:a16="http://schemas.microsoft.com/office/drawing/2014/main" id="{D0D6F316-7BCE-4D4E-CA6C-5E5F438EFB9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78325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4" name="Platshållare för bild 6">
            <a:extLst>
              <a:ext uri="{FF2B5EF4-FFF2-40B4-BE49-F238E27FC236}">
                <a16:creationId xmlns:a16="http://schemas.microsoft.com/office/drawing/2014/main" id="{56CAEABF-3087-DD20-A0E6-CACD575E67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12959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5" name="Platshållare för bild 6">
            <a:extLst>
              <a:ext uri="{FF2B5EF4-FFF2-40B4-BE49-F238E27FC236}">
                <a16:creationId xmlns:a16="http://schemas.microsoft.com/office/drawing/2014/main" id="{4346C7EC-D65D-14A5-6CA0-C1FB615956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47593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16" name="Platshållare för bild 6">
            <a:extLst>
              <a:ext uri="{FF2B5EF4-FFF2-40B4-BE49-F238E27FC236}">
                <a16:creationId xmlns:a16="http://schemas.microsoft.com/office/drawing/2014/main" id="{FD3E3ADE-1DF5-89E9-2FB2-902D3F8CC5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0182226" y="1808163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1" name="Platshållare för text 8">
            <a:extLst>
              <a:ext uri="{FF2B5EF4-FFF2-40B4-BE49-F238E27FC236}">
                <a16:creationId xmlns:a16="http://schemas.microsoft.com/office/drawing/2014/main" id="{CDC89450-DF21-0104-80B2-330773F8C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73061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2" name="Platshållare för text 8">
            <a:extLst>
              <a:ext uri="{FF2B5EF4-FFF2-40B4-BE49-F238E27FC236}">
                <a16:creationId xmlns:a16="http://schemas.microsoft.com/office/drawing/2014/main" id="{D198491F-6B28-D6CA-766E-184E796546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07922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3" name="Platshållare för text 8">
            <a:extLst>
              <a:ext uri="{FF2B5EF4-FFF2-40B4-BE49-F238E27FC236}">
                <a16:creationId xmlns:a16="http://schemas.microsoft.com/office/drawing/2014/main" id="{51129A51-6AB9-55DC-46A5-5D1692359F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42783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4" name="Platshållare för text 8">
            <a:extLst>
              <a:ext uri="{FF2B5EF4-FFF2-40B4-BE49-F238E27FC236}">
                <a16:creationId xmlns:a16="http://schemas.microsoft.com/office/drawing/2014/main" id="{4F7BB43D-C510-6D77-0694-0EF652CD7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77644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5" name="Platshållare för text 8">
            <a:extLst>
              <a:ext uri="{FF2B5EF4-FFF2-40B4-BE49-F238E27FC236}">
                <a16:creationId xmlns:a16="http://schemas.microsoft.com/office/drawing/2014/main" id="{91DECD49-06E6-AAA4-F5E8-C876FB7B77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512505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6" name="Platshållare för text 8">
            <a:extLst>
              <a:ext uri="{FF2B5EF4-FFF2-40B4-BE49-F238E27FC236}">
                <a16:creationId xmlns:a16="http://schemas.microsoft.com/office/drawing/2014/main" id="{0423B971-ACF7-63E8-42BC-85AA4EEAEC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47366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7" name="Platshållare för text 8">
            <a:extLst>
              <a:ext uri="{FF2B5EF4-FFF2-40B4-BE49-F238E27FC236}">
                <a16:creationId xmlns:a16="http://schemas.microsoft.com/office/drawing/2014/main" id="{A7B6AB28-470B-80D7-7967-EE0B50035F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182226" y="3038475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8" name="Platshållare för bild 6">
            <a:extLst>
              <a:ext uri="{FF2B5EF4-FFF2-40B4-BE49-F238E27FC236}">
                <a16:creationId xmlns:a16="http://schemas.microsoft.com/office/drawing/2014/main" id="{B988E9D1-A9EE-8536-5E80-4278CC8781F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978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29" name="Platshållare för text 8">
            <a:extLst>
              <a:ext uri="{FF2B5EF4-FFF2-40B4-BE49-F238E27FC236}">
                <a16:creationId xmlns:a16="http://schemas.microsoft.com/office/drawing/2014/main" id="{176CFCE2-E9A5-0CA6-E6BE-E449842FAB4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38200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0" name="Platshållare för bild 6">
            <a:extLst>
              <a:ext uri="{FF2B5EF4-FFF2-40B4-BE49-F238E27FC236}">
                <a16:creationId xmlns:a16="http://schemas.microsoft.com/office/drawing/2014/main" id="{70EFB29D-8BBB-F0AB-75F3-411A2B52546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17442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1" name="Platshållare för bild 6">
            <a:extLst>
              <a:ext uri="{FF2B5EF4-FFF2-40B4-BE49-F238E27FC236}">
                <a16:creationId xmlns:a16="http://schemas.microsoft.com/office/drawing/2014/main" id="{69056CC5-2D14-C0B7-D2DD-298DBA4615A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09057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2" name="Platshållare för bild 6">
            <a:extLst>
              <a:ext uri="{FF2B5EF4-FFF2-40B4-BE49-F238E27FC236}">
                <a16:creationId xmlns:a16="http://schemas.microsoft.com/office/drawing/2014/main" id="{1073DEDC-8888-9BF2-4FED-B0C96E0946D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843691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3" name="Platshållare för bild 6">
            <a:extLst>
              <a:ext uri="{FF2B5EF4-FFF2-40B4-BE49-F238E27FC236}">
                <a16:creationId xmlns:a16="http://schemas.microsoft.com/office/drawing/2014/main" id="{46EAD82B-EA53-D6E7-73AB-4420295184E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178325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4" name="Platshållare för bild 6">
            <a:extLst>
              <a:ext uri="{FF2B5EF4-FFF2-40B4-BE49-F238E27FC236}">
                <a16:creationId xmlns:a16="http://schemas.microsoft.com/office/drawing/2014/main" id="{FE2ED5C7-8454-9DA0-A6DA-23BBECC3579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512959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5" name="Platshållare för bild 6">
            <a:extLst>
              <a:ext uri="{FF2B5EF4-FFF2-40B4-BE49-F238E27FC236}">
                <a16:creationId xmlns:a16="http://schemas.microsoft.com/office/drawing/2014/main" id="{68D9E14D-093E-4000-4926-A0F16DDC8C6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847593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6" name="Platshållare för bild 6">
            <a:extLst>
              <a:ext uri="{FF2B5EF4-FFF2-40B4-BE49-F238E27FC236}">
                <a16:creationId xmlns:a16="http://schemas.microsoft.com/office/drawing/2014/main" id="{EEB69BA5-58C5-1BE7-5B6D-353FD8F76FE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182226" y="4025108"/>
            <a:ext cx="1169987" cy="1230312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37" name="Platshållare för text 8">
            <a:extLst>
              <a:ext uri="{FF2B5EF4-FFF2-40B4-BE49-F238E27FC236}">
                <a16:creationId xmlns:a16="http://schemas.microsoft.com/office/drawing/2014/main" id="{980EF248-2D30-BBAF-CB51-354FDDA222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173061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8" name="Platshållare för text 8">
            <a:extLst>
              <a:ext uri="{FF2B5EF4-FFF2-40B4-BE49-F238E27FC236}">
                <a16:creationId xmlns:a16="http://schemas.microsoft.com/office/drawing/2014/main" id="{A35629B5-42E0-6E08-C676-8E553166846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07922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39" name="Platshållare för text 8">
            <a:extLst>
              <a:ext uri="{FF2B5EF4-FFF2-40B4-BE49-F238E27FC236}">
                <a16:creationId xmlns:a16="http://schemas.microsoft.com/office/drawing/2014/main" id="{48911B15-5C87-F27E-6202-9A4C808AB65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842783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0" name="Platshållare för text 8">
            <a:extLst>
              <a:ext uri="{FF2B5EF4-FFF2-40B4-BE49-F238E27FC236}">
                <a16:creationId xmlns:a16="http://schemas.microsoft.com/office/drawing/2014/main" id="{6523FF90-B346-B215-7E07-5EAD34AE858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177644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1" name="Platshållare för text 8">
            <a:extLst>
              <a:ext uri="{FF2B5EF4-FFF2-40B4-BE49-F238E27FC236}">
                <a16:creationId xmlns:a16="http://schemas.microsoft.com/office/drawing/2014/main" id="{A2173BD9-995C-9BB3-3E5B-53E1E7E9264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12505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2" name="Platshållare för text 8">
            <a:extLst>
              <a:ext uri="{FF2B5EF4-FFF2-40B4-BE49-F238E27FC236}">
                <a16:creationId xmlns:a16="http://schemas.microsoft.com/office/drawing/2014/main" id="{FF77D1D7-BE9B-FAEE-26D8-193C24AEEEC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847366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3" name="Platshållare för text 8">
            <a:extLst>
              <a:ext uri="{FF2B5EF4-FFF2-40B4-BE49-F238E27FC236}">
                <a16:creationId xmlns:a16="http://schemas.microsoft.com/office/drawing/2014/main" id="{982FC7B8-7C96-FE20-101D-958EFB07150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82226" y="5255420"/>
            <a:ext cx="1169988" cy="538956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0645188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Platshållare för bild 8">
            <a:extLst>
              <a:ext uri="{FF2B5EF4-FFF2-40B4-BE49-F238E27FC236}">
                <a16:creationId xmlns:a16="http://schemas.microsoft.com/office/drawing/2014/main" id="{7944C8A2-3E33-B021-611F-A3DD4E355E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DA38DFC8-4FA7-7A97-0BD7-51FEA556E1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6987" y="904875"/>
            <a:ext cx="5677463" cy="49006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93820" y="904875"/>
            <a:ext cx="4328160" cy="49006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DD7E20D4-490E-9B23-F325-0E625AB6CBD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6602311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E5A5430D-617D-B455-262A-06649055720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8B60CD3-57B3-DA07-6036-2587B239D3EA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82899240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49163920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rgbClr val="FBE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C0A7E2AE-C727-1799-5292-AFD120D720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624869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848955C-00EC-4B47-BC95-A26380F7B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 2">
            <a:extLst>
              <a:ext uri="{FF2B5EF4-FFF2-40B4-BE49-F238E27FC236}">
                <a16:creationId xmlns:a16="http://schemas.microsoft.com/office/drawing/2014/main" id="{BA24694D-106D-F3E7-90D3-A179ABA8A4D3}"/>
              </a:ext>
            </a:extLst>
          </p:cNvPr>
          <p:cNvGrpSpPr/>
          <p:nvPr userDrawn="1"/>
        </p:nvGrpSpPr>
        <p:grpSpPr>
          <a:xfrm>
            <a:off x="3292429" y="1286615"/>
            <a:ext cx="5842046" cy="4284770"/>
            <a:chOff x="5085834" y="2419402"/>
            <a:chExt cx="1710845" cy="1254796"/>
          </a:xfrm>
        </p:grpSpPr>
        <p:sp>
          <p:nvSpPr>
            <p:cNvPr id="5" name="Sexhörning 4">
              <a:extLst>
                <a:ext uri="{FF2B5EF4-FFF2-40B4-BE49-F238E27FC236}">
                  <a16:creationId xmlns:a16="http://schemas.microsoft.com/office/drawing/2014/main" id="{F6052BDB-E3F0-541D-BC64-27C2AC08A72A}"/>
                </a:ext>
              </a:extLst>
            </p:cNvPr>
            <p:cNvSpPr/>
            <p:nvPr/>
          </p:nvSpPr>
          <p:spPr>
            <a:xfrm rot="5400000">
              <a:off x="5010171" y="2495065"/>
              <a:ext cx="1254796" cy="1103470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" name="Sexhörning 7">
              <a:extLst>
                <a:ext uri="{FF2B5EF4-FFF2-40B4-BE49-F238E27FC236}">
                  <a16:creationId xmlns:a16="http://schemas.microsoft.com/office/drawing/2014/main" id="{762EFCB3-B939-203E-C05C-223376C8A892}"/>
                </a:ext>
              </a:extLst>
            </p:cNvPr>
            <p:cNvSpPr/>
            <p:nvPr/>
          </p:nvSpPr>
          <p:spPr>
            <a:xfrm rot="5400000">
              <a:off x="5617546" y="2495065"/>
              <a:ext cx="1254796" cy="1103470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2" name="Sexhörning 11">
              <a:extLst>
                <a:ext uri="{FF2B5EF4-FFF2-40B4-BE49-F238E27FC236}">
                  <a16:creationId xmlns:a16="http://schemas.microsoft.com/office/drawing/2014/main" id="{7ED6D1DD-7223-43C7-1AE8-B7C670481996}"/>
                </a:ext>
              </a:extLst>
            </p:cNvPr>
            <p:cNvSpPr/>
            <p:nvPr/>
          </p:nvSpPr>
          <p:spPr>
            <a:xfrm rot="5400000">
              <a:off x="5464104" y="2628483"/>
              <a:ext cx="950713" cy="836057"/>
            </a:xfrm>
            <a:prstGeom prst="hexag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65CA5509-FF9B-D8E8-4AB8-DFECC285CF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1185" y="2702079"/>
            <a:ext cx="2164534" cy="1395938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3D0A7A89-DB05-E582-5E77-28F68F3F183D}"/>
              </a:ext>
            </a:extLst>
          </p:cNvPr>
          <p:cNvSpPr txBox="1"/>
          <p:nvPr userDrawn="1"/>
        </p:nvSpPr>
        <p:spPr>
          <a:xfrm>
            <a:off x="839788" y="6419676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accent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9542378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FBE85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FBE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D907FCD-A527-0575-B311-28C7FEDCC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60602EF2-20B6-9149-8905-82041C41C2E3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2037175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gul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6F04DD3D-CB7D-7AD5-CC4A-5170CE050E36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FDF6B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47852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33001" y="6356350"/>
            <a:ext cx="1319212" cy="365125"/>
          </a:xfrm>
        </p:spPr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Bild 5">
            <a:extLst>
              <a:ext uri="{FF2B5EF4-FFF2-40B4-BE49-F238E27FC236}">
                <a16:creationId xmlns:a16="http://schemas.microsoft.com/office/drawing/2014/main" id="{7B94F3F8-CA1A-5278-491A-20D16928A2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85136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-3120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0F9CF573-A547-B7C1-8BE6-3D1B7DFD83D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7A2DFAE-4EF6-703D-E5A1-89085E2BFD9E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58092243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5688177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rgbClr val="FF748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rgbClr val="FF748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rgbClr val="FF74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C0A7E2AE-C727-1799-5292-AFD120D720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27177675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FF748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FF748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FF748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15AC4E4-942F-685D-C185-A90EA64B0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0D7C7B9-24BE-B006-FBF9-879204425934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397492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ros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FFD5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6206"/>
            <a:ext cx="210304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3045"/>
              <a:gd name="connsiteY0" fmla="*/ 2309 h 6864206"/>
              <a:gd name="connsiteX1" fmla="*/ 1670844 w 2103045"/>
              <a:gd name="connsiteY1" fmla="*/ 4817919 h 6864206"/>
              <a:gd name="connsiteX2" fmla="*/ 0 w 2103045"/>
              <a:gd name="connsiteY2" fmla="*/ 6864206 h 6864206"/>
              <a:gd name="connsiteX3" fmla="*/ 2102644 w 2103045"/>
              <a:gd name="connsiteY3" fmla="*/ 6862619 h 6864206"/>
              <a:gd name="connsiteX4" fmla="*/ 2102342 w 2103045"/>
              <a:gd name="connsiteY4" fmla="*/ 0 h 6864206"/>
              <a:gd name="connsiteX5" fmla="*/ 84499 w 210304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04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651" y="2287540"/>
                  <a:pt x="2102342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816205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312965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3562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14F6F1BA-E2CE-1697-347E-2D89B6A0A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46044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rosa ver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E05B1F34-8D33-9D23-F8CC-ACFC2DD09239}"/>
              </a:ext>
            </a:extLst>
          </p:cNvPr>
          <p:cNvSpPr/>
          <p:nvPr userDrawn="1"/>
        </p:nvSpPr>
        <p:spPr>
          <a:xfrm>
            <a:off x="10089357" y="-6206"/>
            <a:ext cx="210304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3045"/>
              <a:gd name="connsiteY0" fmla="*/ 2309 h 6864206"/>
              <a:gd name="connsiteX1" fmla="*/ 1670844 w 2103045"/>
              <a:gd name="connsiteY1" fmla="*/ 4817919 h 6864206"/>
              <a:gd name="connsiteX2" fmla="*/ 0 w 2103045"/>
              <a:gd name="connsiteY2" fmla="*/ 6864206 h 6864206"/>
              <a:gd name="connsiteX3" fmla="*/ 2102644 w 2103045"/>
              <a:gd name="connsiteY3" fmla="*/ 6862619 h 6864206"/>
              <a:gd name="connsiteX4" fmla="*/ 2102342 w 2103045"/>
              <a:gd name="connsiteY4" fmla="*/ 0 h 6864206"/>
              <a:gd name="connsiteX5" fmla="*/ 84499 w 210304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04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651" y="2287540"/>
                  <a:pt x="2102342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108096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0144" y="6356350"/>
            <a:ext cx="258365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FD4F3416-B0ED-3706-3F16-6DCE2B9EA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89248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me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FC2E8098-FE03-25B3-D703-AD1076A097DE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454046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me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5746C5CD-4415-59B3-EB35-885843EF94E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178674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med kontakt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848955C-00EC-4B47-BC95-A26380F7B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 2">
            <a:extLst>
              <a:ext uri="{FF2B5EF4-FFF2-40B4-BE49-F238E27FC236}">
                <a16:creationId xmlns:a16="http://schemas.microsoft.com/office/drawing/2014/main" id="{BA24694D-106D-F3E7-90D3-A179ABA8A4D3}"/>
              </a:ext>
            </a:extLst>
          </p:cNvPr>
          <p:cNvGrpSpPr/>
          <p:nvPr userDrawn="1"/>
        </p:nvGrpSpPr>
        <p:grpSpPr>
          <a:xfrm>
            <a:off x="3292429" y="1286615"/>
            <a:ext cx="5842046" cy="4284770"/>
            <a:chOff x="5085834" y="2419402"/>
            <a:chExt cx="1710845" cy="1254796"/>
          </a:xfrm>
        </p:grpSpPr>
        <p:sp>
          <p:nvSpPr>
            <p:cNvPr id="5" name="Sexhörning 4">
              <a:extLst>
                <a:ext uri="{FF2B5EF4-FFF2-40B4-BE49-F238E27FC236}">
                  <a16:creationId xmlns:a16="http://schemas.microsoft.com/office/drawing/2014/main" id="{F6052BDB-E3F0-541D-BC64-27C2AC08A72A}"/>
                </a:ext>
              </a:extLst>
            </p:cNvPr>
            <p:cNvSpPr/>
            <p:nvPr/>
          </p:nvSpPr>
          <p:spPr>
            <a:xfrm rot="5400000">
              <a:off x="5010171" y="2495065"/>
              <a:ext cx="1254796" cy="1103470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" name="Sexhörning 7">
              <a:extLst>
                <a:ext uri="{FF2B5EF4-FFF2-40B4-BE49-F238E27FC236}">
                  <a16:creationId xmlns:a16="http://schemas.microsoft.com/office/drawing/2014/main" id="{762EFCB3-B939-203E-C05C-223376C8A892}"/>
                </a:ext>
              </a:extLst>
            </p:cNvPr>
            <p:cNvSpPr/>
            <p:nvPr/>
          </p:nvSpPr>
          <p:spPr>
            <a:xfrm rot="5400000">
              <a:off x="5617546" y="2495065"/>
              <a:ext cx="1254796" cy="1103470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2" name="Sexhörning 11">
              <a:extLst>
                <a:ext uri="{FF2B5EF4-FFF2-40B4-BE49-F238E27FC236}">
                  <a16:creationId xmlns:a16="http://schemas.microsoft.com/office/drawing/2014/main" id="{7ED6D1DD-7223-43C7-1AE8-B7C670481996}"/>
                </a:ext>
              </a:extLst>
            </p:cNvPr>
            <p:cNvSpPr/>
            <p:nvPr/>
          </p:nvSpPr>
          <p:spPr>
            <a:xfrm rot="5400000">
              <a:off x="5464104" y="2628483"/>
              <a:ext cx="950713" cy="836057"/>
            </a:xfrm>
            <a:prstGeom prst="hexag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65CA5509-FF9B-D8E8-4AB8-DFECC285CF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1185" y="2702079"/>
            <a:ext cx="2164534" cy="1395938"/>
          </a:xfrm>
          <a:prstGeom prst="rect">
            <a:avLst/>
          </a:prstGeom>
        </p:spPr>
      </p:pic>
      <p:sp>
        <p:nvSpPr>
          <p:cNvPr id="4" name="Underrubrik 2">
            <a:extLst>
              <a:ext uri="{FF2B5EF4-FFF2-40B4-BE49-F238E27FC236}">
                <a16:creationId xmlns:a16="http://schemas.microsoft.com/office/drawing/2014/main" id="{7B8E925F-A8B8-C9CB-F631-753209A448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299824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140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33EA92C8-F617-9CC4-F10D-64208A098DED}"/>
              </a:ext>
            </a:extLst>
          </p:cNvPr>
          <p:cNvSpPr txBox="1"/>
          <p:nvPr userDrawn="1"/>
        </p:nvSpPr>
        <p:spPr>
          <a:xfrm>
            <a:off x="839788" y="6419676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accent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65366667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36603424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18D4FF79-BA9F-BC4A-E140-151B62BF96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3533E74F-E803-55AB-6DB9-17248A7269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ADADA163-0901-6BC0-792D-692BCE3832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1623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333265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Rubrik + två textboxa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22162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E096332-3937-8A3D-3A06-DA6F74457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9089F245-CC03-7935-169D-D60EEF4A4A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4359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4102294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9050" y="-4763"/>
            <a:ext cx="12211050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1050" h="6862763">
                <a:moveTo>
                  <a:pt x="0" y="0"/>
                </a:moveTo>
                <a:lnTo>
                  <a:pt x="12211050" y="0"/>
                </a:lnTo>
                <a:lnTo>
                  <a:pt x="12211050" y="6862763"/>
                </a:lnTo>
                <a:lnTo>
                  <a:pt x="2101088" y="6862763"/>
                </a:lnTo>
                <a:lnTo>
                  <a:pt x="431540" y="4818063"/>
                </a:lnTo>
                <a:lnTo>
                  <a:pt x="2017885" y="2453"/>
                </a:lnTo>
                <a:lnTo>
                  <a:pt x="6668" y="144"/>
                </a:lnTo>
                <a:lnTo>
                  <a:pt x="0" y="66051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7D2DAA0-E013-6E46-548B-D6A66D9A23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553F9B9-CFFD-40C4-8F89-6162B2B7E7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32158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0AB25016-C0D5-110B-22E4-178A0B271B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FD389228-4B2D-2434-1FC2-9CDC92BD9C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C56B5741-53A4-5BE1-291F-A46DFFDA23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399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11037AE2-B7C3-FBDB-FC6C-B9F5CB2CE0C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76675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24B4566D-E21C-891A-64DA-3C7E178221D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86812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4" name="Frihandsfigur: Form 13">
            <a:extLst>
              <a:ext uri="{FF2B5EF4-FFF2-40B4-BE49-F238E27FC236}">
                <a16:creationId xmlns:a16="http://schemas.microsoft.com/office/drawing/2014/main" id="{C935C318-8D42-C5D7-811E-9D2E03E8D2B7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795166" y="2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7208BD3-AEFE-33EC-7B9E-5565F2BDC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9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 animBg="1"/>
          <p:bldP spid="13" grpId="0" animBg="1"/>
        </p:bldLst>
      </p:timing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D3672FD6-8C71-7DA2-AF72-582538ACA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8159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327804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rihandsfigur: Form 5">
            <a:extLst>
              <a:ext uri="{FF2B5EF4-FFF2-40B4-BE49-F238E27FC236}">
                <a16:creationId xmlns:a16="http://schemas.microsoft.com/office/drawing/2014/main" id="{A3A4FB87-8E00-0259-B62D-D583D2ABFBC8}"/>
              </a:ext>
            </a:extLst>
          </p:cNvPr>
          <p:cNvSpPr/>
          <p:nvPr userDrawn="1"/>
        </p:nvSpPr>
        <p:spPr>
          <a:xfrm>
            <a:off x="10089357" y="-4619"/>
            <a:ext cx="2115803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15803"/>
              <a:gd name="connsiteY0" fmla="*/ 2309 h 6864206"/>
              <a:gd name="connsiteX1" fmla="*/ 1670844 w 2115803"/>
              <a:gd name="connsiteY1" fmla="*/ 4817919 h 6864206"/>
              <a:gd name="connsiteX2" fmla="*/ 0 w 2115803"/>
              <a:gd name="connsiteY2" fmla="*/ 6864206 h 6864206"/>
              <a:gd name="connsiteX3" fmla="*/ 2102644 w 2115803"/>
              <a:gd name="connsiteY3" fmla="*/ 6862619 h 6864206"/>
              <a:gd name="connsiteX4" fmla="*/ 2115594 w 2115803"/>
              <a:gd name="connsiteY4" fmla="*/ 0 h 6864206"/>
              <a:gd name="connsiteX5" fmla="*/ 84499 w 2115803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5803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17903" y="2287540"/>
                  <a:pt x="2115594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1D4F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16628" y="6356350"/>
            <a:ext cx="19593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D68FE4D-1CCA-D7FF-1EFB-82B52E339F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0748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397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A2C4657C-2C05-5034-FAA5-E5D47AABAEF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2448009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519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6206"/>
            <a:ext cx="2115803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15803"/>
              <a:gd name="connsiteY0" fmla="*/ 2309 h 6864206"/>
              <a:gd name="connsiteX1" fmla="*/ 1670844 w 2115803"/>
              <a:gd name="connsiteY1" fmla="*/ 4817919 h 6864206"/>
              <a:gd name="connsiteX2" fmla="*/ 0 w 2115803"/>
              <a:gd name="connsiteY2" fmla="*/ 6864206 h 6864206"/>
              <a:gd name="connsiteX3" fmla="*/ 2102644 w 2115803"/>
              <a:gd name="connsiteY3" fmla="*/ 6862619 h 6864206"/>
              <a:gd name="connsiteX4" fmla="*/ 2115594 w 2115803"/>
              <a:gd name="connsiteY4" fmla="*/ 0 h 6864206"/>
              <a:gd name="connsiteX5" fmla="*/ 84499 w 2115803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5803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17903" y="2287540"/>
                  <a:pt x="2115594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8817792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359348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507EF397-A8C5-B0F2-ACE9-FE58761B26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6998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28677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545C77E1-3BB4-FB11-9CAA-4139086248A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6F071939-403C-79B7-C872-1999D6134703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8070613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0132520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bild höger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AD69F1B6-076F-ED53-592F-7CADDEAC0606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939887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92B38912-8154-727B-00BA-D8D951BD9BF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CF9F72F-52D7-2BEE-0338-8BDD6FD08993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8333040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1/3 bild höger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2DAACBFD-9C7A-14AA-3731-EE42F4064F5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7999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50401E1D-A905-04B6-FCB8-A2369ED0CCCF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499755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ACB0E7D2-3F03-BC2C-BC8D-98F39BF4C01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-1" y="0"/>
            <a:ext cx="3196473" cy="694671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6EBD4CBF-98F8-184B-97B3-98825ECB3CCF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42044806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605FABC9-8A40-0CC7-6DDE-7B10EB33B0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706123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9BE91A91-8CED-864B-8916-63C9809D6AD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426743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rgbClr val="0092D6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rgbClr val="1B4D76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48E93867-9A2B-7BD3-CA32-F8447407E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B9C3BACF-B269-9D28-334B-204793130C2C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B3F80318-DC3E-35BF-9B0C-21137D84DF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75" y="4586288"/>
            <a:ext cx="6556375" cy="558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Skriv namn på citerad person eller ta bort textrutan</a:t>
            </a:r>
          </a:p>
        </p:txBody>
      </p:sp>
      <p:sp>
        <p:nvSpPr>
          <p:cNvPr id="11" name="Platshållare för text 9">
            <a:extLst>
              <a:ext uri="{FF2B5EF4-FFF2-40B4-BE49-F238E27FC236}">
                <a16:creationId xmlns:a16="http://schemas.microsoft.com/office/drawing/2014/main" id="{493572EE-6FD7-E75E-0986-BDB143EAE0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rgbClr val="FFFF00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267160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27958306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9050" y="-4763"/>
            <a:ext cx="12211050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1050" h="6862763">
                <a:moveTo>
                  <a:pt x="0" y="0"/>
                </a:moveTo>
                <a:lnTo>
                  <a:pt x="12211050" y="0"/>
                </a:lnTo>
                <a:lnTo>
                  <a:pt x="12211050" y="6862763"/>
                </a:lnTo>
                <a:lnTo>
                  <a:pt x="2101088" y="6862763"/>
                </a:lnTo>
                <a:lnTo>
                  <a:pt x="431540" y="4818063"/>
                </a:lnTo>
                <a:lnTo>
                  <a:pt x="2017885" y="2453"/>
                </a:lnTo>
                <a:lnTo>
                  <a:pt x="6668" y="144"/>
                </a:lnTo>
                <a:lnTo>
                  <a:pt x="0" y="66051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842601-7FEE-AC64-D372-9D58390B5B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12E2823-0A00-0672-BB42-E7BC3B9541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17841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77A9E7CF-D5A4-018D-8A48-C5A4F38047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A1EE32D7-1C8E-9FF6-75E3-16F13F10E9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C69D9D88-9411-A180-83CC-362E3B7ACB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94245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DAA9C6B5-538C-92E0-64E9-AED80328F14E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981396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8467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6C5F64C8-4455-70B2-9BB0-D5EF376113E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603455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1817C005-084A-4B00-F3AB-0ACBACB442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EBDEB36-C0E0-C60E-E6AC-80484EE12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F2FB0E06-2469-2C6C-7C10-FD56C46CB4DB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795166" y="2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Bild 8">
            <a:extLst>
              <a:ext uri="{FF2B5EF4-FFF2-40B4-BE49-F238E27FC236}">
                <a16:creationId xmlns:a16="http://schemas.microsoft.com/office/drawing/2014/main" id="{09C6CBE0-1FB1-3CF3-7411-3641433C9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63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1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12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4027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93060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rihandsfigur: Form 5">
            <a:extLst>
              <a:ext uri="{FF2B5EF4-FFF2-40B4-BE49-F238E27FC236}">
                <a16:creationId xmlns:a16="http://schemas.microsoft.com/office/drawing/2014/main" id="{A3A4FB87-8E00-0259-B62D-D583D2ABFBC8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729479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11447CD8-B60C-EB30-F7B6-3BA076B922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27A8C22E-69CC-E6A6-E74C-DED6C4268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1" name="Frihandsfigur: Form 10">
            <a:extLst>
              <a:ext uri="{FF2B5EF4-FFF2-40B4-BE49-F238E27FC236}">
                <a16:creationId xmlns:a16="http://schemas.microsoft.com/office/drawing/2014/main" id="{A64C02C6-89EE-60D4-4C52-83CD2F8C0BAB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803640" y="0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rgbClr val="1D4F78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A339C130-53C7-1B4D-308F-F9B26209D0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18014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30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7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8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11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12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3" grpId="0" animBg="1"/>
        </p:bldLst>
      </p:timing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347683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723783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rihandsfigur: Form 5">
            <a:extLst>
              <a:ext uri="{FF2B5EF4-FFF2-40B4-BE49-F238E27FC236}">
                <a16:creationId xmlns:a16="http://schemas.microsoft.com/office/drawing/2014/main" id="{A3A4FB87-8E00-0259-B62D-D583D2ABFBC8}"/>
              </a:ext>
            </a:extLst>
          </p:cNvPr>
          <p:cNvSpPr/>
          <p:nvPr userDrawn="1"/>
        </p:nvSpPr>
        <p:spPr>
          <a:xfrm>
            <a:off x="10089357" y="-4619"/>
            <a:ext cx="2114985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2806"/>
              <a:gd name="connsiteY0" fmla="*/ 0 h 6861897"/>
              <a:gd name="connsiteX1" fmla="*/ 1670844 w 2102806"/>
              <a:gd name="connsiteY1" fmla="*/ 4815610 h 6861897"/>
              <a:gd name="connsiteX2" fmla="*/ 0 w 2102806"/>
              <a:gd name="connsiteY2" fmla="*/ 6861897 h 6861897"/>
              <a:gd name="connsiteX3" fmla="*/ 2102644 w 2102806"/>
              <a:gd name="connsiteY3" fmla="*/ 6860310 h 6861897"/>
              <a:gd name="connsiteX4" fmla="*/ 2102066 w 2102806"/>
              <a:gd name="connsiteY4" fmla="*/ 4041 h 6861897"/>
              <a:gd name="connsiteX5" fmla="*/ 84499 w 2102806"/>
              <a:gd name="connsiteY5" fmla="*/ 0 h 6861897"/>
              <a:gd name="connsiteX0" fmla="*/ 84499 w 2102806"/>
              <a:gd name="connsiteY0" fmla="*/ 0 h 6861897"/>
              <a:gd name="connsiteX1" fmla="*/ 1670844 w 2102806"/>
              <a:gd name="connsiteY1" fmla="*/ 4815610 h 6861897"/>
              <a:gd name="connsiteX2" fmla="*/ 0 w 2102806"/>
              <a:gd name="connsiteY2" fmla="*/ 6861897 h 6861897"/>
              <a:gd name="connsiteX3" fmla="*/ 2102644 w 2102806"/>
              <a:gd name="connsiteY3" fmla="*/ 6860310 h 6861897"/>
              <a:gd name="connsiteX4" fmla="*/ 2102066 w 2102806"/>
              <a:gd name="connsiteY4" fmla="*/ 4041 h 6861897"/>
              <a:gd name="connsiteX5" fmla="*/ 84499 w 2102806"/>
              <a:gd name="connsiteY5" fmla="*/ 0 h 6861897"/>
              <a:gd name="connsiteX0" fmla="*/ 84499 w 2114985"/>
              <a:gd name="connsiteY0" fmla="*/ 2309 h 6864206"/>
              <a:gd name="connsiteX1" fmla="*/ 1670844 w 2114985"/>
              <a:gd name="connsiteY1" fmla="*/ 4817919 h 6864206"/>
              <a:gd name="connsiteX2" fmla="*/ 0 w 2114985"/>
              <a:gd name="connsiteY2" fmla="*/ 6864206 h 6864206"/>
              <a:gd name="connsiteX3" fmla="*/ 2102644 w 2114985"/>
              <a:gd name="connsiteY3" fmla="*/ 6862619 h 6864206"/>
              <a:gd name="connsiteX4" fmla="*/ 2114766 w 2114985"/>
              <a:gd name="connsiteY4" fmla="*/ 0 h 6864206"/>
              <a:gd name="connsiteX5" fmla="*/ 84499 w 2114985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4985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17075" y="2287540"/>
                  <a:pt x="211476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786CE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1653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1ABDEEAE-1740-B216-A875-D10E81EC64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9678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C3BE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3897"/>
            <a:ext cx="2109290" cy="6861897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9290"/>
              <a:gd name="connsiteY0" fmla="*/ 0 h 6861897"/>
              <a:gd name="connsiteX1" fmla="*/ 1670844 w 2109290"/>
              <a:gd name="connsiteY1" fmla="*/ 4815610 h 6861897"/>
              <a:gd name="connsiteX2" fmla="*/ 0 w 2109290"/>
              <a:gd name="connsiteY2" fmla="*/ 6861897 h 6861897"/>
              <a:gd name="connsiteX3" fmla="*/ 2102644 w 2109290"/>
              <a:gd name="connsiteY3" fmla="*/ 6860310 h 6861897"/>
              <a:gd name="connsiteX4" fmla="*/ 2108968 w 2109290"/>
              <a:gd name="connsiteY4" fmla="*/ 4317 h 6861897"/>
              <a:gd name="connsiteX5" fmla="*/ 84499 w 2109290"/>
              <a:gd name="connsiteY5" fmla="*/ 0 h 6861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9290" h="6861897">
                <a:moveTo>
                  <a:pt x="84499" y="0"/>
                </a:moveTo>
                <a:lnTo>
                  <a:pt x="1670844" y="4815610"/>
                </a:lnTo>
                <a:lnTo>
                  <a:pt x="0" y="6861897"/>
                </a:lnTo>
                <a:lnTo>
                  <a:pt x="2102644" y="6860310"/>
                </a:lnTo>
                <a:cubicBezTo>
                  <a:pt x="2100335" y="4572770"/>
                  <a:pt x="2111277" y="2291857"/>
                  <a:pt x="2108968" y="4317"/>
                </a:cubicBezTo>
                <a:lnTo>
                  <a:pt x="8449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895011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8950117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5712" y="636397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B7E06283-2C29-907F-B3A6-B1EC84F751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0841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666300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rgbClr val="E3E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rgbClr val="BBB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2079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84C8AFF2-7CB6-9A59-73FE-5ABB0F1A9FA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26D824F-E069-895E-2678-373FFCE55815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8895704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8864134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bild höger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A30E5F86-8E51-B078-7496-C649C918B6B5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E8AE2AFD-1A55-6019-A68A-438D6B64DEB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EC39AA6-C808-C37A-9523-7167956A6643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81163647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1/3 bild höger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9953A50-2857-58A4-6608-E79B4F1563D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8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736B8C58-2EDC-7B04-6356-D8E4783AD54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870848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39070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E748D465-4FDB-AC08-8A3E-981DC5E2A4D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0" y="0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66D917C9-1274-AD8A-8208-FD8F6C46B22B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1697714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21982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2870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C26BBDAE-E3A4-7608-2D58-DA99A79CAE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4164474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rgbClr val="786B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rgbClr val="FFFF00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D209914-C4B9-96C6-9AF6-2EEDFDE46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47CB5206-A561-7DAF-CEEA-E99E05D8AFBA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3238895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12451532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amsida v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36748" y="-4763"/>
            <a:ext cx="12228748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  <a:gd name="connsiteX0" fmla="*/ 17698 w 12228748"/>
              <a:gd name="connsiteY0" fmla="*/ 0 h 6862763"/>
              <a:gd name="connsiteX1" fmla="*/ 12228748 w 12228748"/>
              <a:gd name="connsiteY1" fmla="*/ 0 h 6862763"/>
              <a:gd name="connsiteX2" fmla="*/ 12228748 w 12228748"/>
              <a:gd name="connsiteY2" fmla="*/ 6862763 h 6862763"/>
              <a:gd name="connsiteX3" fmla="*/ 2118786 w 12228748"/>
              <a:gd name="connsiteY3" fmla="*/ 6862763 h 6862763"/>
              <a:gd name="connsiteX4" fmla="*/ 449238 w 12228748"/>
              <a:gd name="connsiteY4" fmla="*/ 4818063 h 6862763"/>
              <a:gd name="connsiteX5" fmla="*/ 2035583 w 12228748"/>
              <a:gd name="connsiteY5" fmla="*/ 2453 h 6862763"/>
              <a:gd name="connsiteX6" fmla="*/ 24366 w 12228748"/>
              <a:gd name="connsiteY6" fmla="*/ 144 h 6862763"/>
              <a:gd name="connsiteX7" fmla="*/ 0 w 12228748"/>
              <a:gd name="connsiteY7" fmla="*/ 6852967 h 6862763"/>
              <a:gd name="connsiteX8" fmla="*/ 17698 w 12228748"/>
              <a:gd name="connsiteY8" fmla="*/ 0 h 6862763"/>
              <a:gd name="connsiteX0" fmla="*/ 11798 w 12222848"/>
              <a:gd name="connsiteY0" fmla="*/ 0 h 6862763"/>
              <a:gd name="connsiteX1" fmla="*/ 12222848 w 12222848"/>
              <a:gd name="connsiteY1" fmla="*/ 0 h 6862763"/>
              <a:gd name="connsiteX2" fmla="*/ 12222848 w 12222848"/>
              <a:gd name="connsiteY2" fmla="*/ 6862763 h 6862763"/>
              <a:gd name="connsiteX3" fmla="*/ 2112886 w 12222848"/>
              <a:gd name="connsiteY3" fmla="*/ 6862763 h 6862763"/>
              <a:gd name="connsiteX4" fmla="*/ 443338 w 12222848"/>
              <a:gd name="connsiteY4" fmla="*/ 4818063 h 6862763"/>
              <a:gd name="connsiteX5" fmla="*/ 2029683 w 12222848"/>
              <a:gd name="connsiteY5" fmla="*/ 2453 h 6862763"/>
              <a:gd name="connsiteX6" fmla="*/ 18466 w 12222848"/>
              <a:gd name="connsiteY6" fmla="*/ 144 h 6862763"/>
              <a:gd name="connsiteX7" fmla="*/ 0 w 12222848"/>
              <a:gd name="connsiteY7" fmla="*/ 6811672 h 6862763"/>
              <a:gd name="connsiteX8" fmla="*/ 11798 w 12222848"/>
              <a:gd name="connsiteY8" fmla="*/ 0 h 6862763"/>
              <a:gd name="connsiteX0" fmla="*/ 23597 w 12234647"/>
              <a:gd name="connsiteY0" fmla="*/ 0 h 6862763"/>
              <a:gd name="connsiteX1" fmla="*/ 12234647 w 12234647"/>
              <a:gd name="connsiteY1" fmla="*/ 0 h 6862763"/>
              <a:gd name="connsiteX2" fmla="*/ 12234647 w 12234647"/>
              <a:gd name="connsiteY2" fmla="*/ 6862763 h 6862763"/>
              <a:gd name="connsiteX3" fmla="*/ 2124685 w 12234647"/>
              <a:gd name="connsiteY3" fmla="*/ 6862763 h 6862763"/>
              <a:gd name="connsiteX4" fmla="*/ 455137 w 12234647"/>
              <a:gd name="connsiteY4" fmla="*/ 4818063 h 6862763"/>
              <a:gd name="connsiteX5" fmla="*/ 2041482 w 12234647"/>
              <a:gd name="connsiteY5" fmla="*/ 2453 h 6862763"/>
              <a:gd name="connsiteX6" fmla="*/ 30265 w 12234647"/>
              <a:gd name="connsiteY6" fmla="*/ 144 h 6862763"/>
              <a:gd name="connsiteX7" fmla="*/ 0 w 12234647"/>
              <a:gd name="connsiteY7" fmla="*/ 6811672 h 6862763"/>
              <a:gd name="connsiteX8" fmla="*/ 23597 w 12234647"/>
              <a:gd name="connsiteY8" fmla="*/ 0 h 6862763"/>
              <a:gd name="connsiteX0" fmla="*/ 17698 w 12228748"/>
              <a:gd name="connsiteY0" fmla="*/ 0 h 6862763"/>
              <a:gd name="connsiteX1" fmla="*/ 12228748 w 12228748"/>
              <a:gd name="connsiteY1" fmla="*/ 0 h 6862763"/>
              <a:gd name="connsiteX2" fmla="*/ 12228748 w 12228748"/>
              <a:gd name="connsiteY2" fmla="*/ 6862763 h 6862763"/>
              <a:gd name="connsiteX3" fmla="*/ 2118786 w 12228748"/>
              <a:gd name="connsiteY3" fmla="*/ 6862763 h 6862763"/>
              <a:gd name="connsiteX4" fmla="*/ 449238 w 12228748"/>
              <a:gd name="connsiteY4" fmla="*/ 4818063 h 6862763"/>
              <a:gd name="connsiteX5" fmla="*/ 2035583 w 12228748"/>
              <a:gd name="connsiteY5" fmla="*/ 2453 h 6862763"/>
              <a:gd name="connsiteX6" fmla="*/ 24366 w 12228748"/>
              <a:gd name="connsiteY6" fmla="*/ 144 h 6862763"/>
              <a:gd name="connsiteX7" fmla="*/ 0 w 12228748"/>
              <a:gd name="connsiteY7" fmla="*/ 6852967 h 6862763"/>
              <a:gd name="connsiteX8" fmla="*/ 17698 w 12228748"/>
              <a:gd name="connsiteY8" fmla="*/ 0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28748" h="6862763">
                <a:moveTo>
                  <a:pt x="17698" y="0"/>
                </a:moveTo>
                <a:lnTo>
                  <a:pt x="12228748" y="0"/>
                </a:lnTo>
                <a:lnTo>
                  <a:pt x="12228748" y="6862763"/>
                </a:lnTo>
                <a:lnTo>
                  <a:pt x="2118786" y="6862763"/>
                </a:lnTo>
                <a:lnTo>
                  <a:pt x="449238" y="4818063"/>
                </a:lnTo>
                <a:lnTo>
                  <a:pt x="2035583" y="2453"/>
                </a:lnTo>
                <a:lnTo>
                  <a:pt x="24366" y="144"/>
                </a:lnTo>
                <a:cubicBezTo>
                  <a:pt x="18211" y="2270653"/>
                  <a:pt x="6155" y="4582458"/>
                  <a:pt x="0" y="6852967"/>
                </a:cubicBezTo>
                <a:cubicBezTo>
                  <a:pt x="0" y="4651236"/>
                  <a:pt x="17698" y="2201731"/>
                  <a:pt x="17698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0CB93E8F-B451-396A-2D80-B9171E7474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ts val="42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Underrubrik 2">
            <a:extLst>
              <a:ext uri="{FF2B5EF4-FFF2-40B4-BE49-F238E27FC236}">
                <a16:creationId xmlns:a16="http://schemas.microsoft.com/office/drawing/2014/main" id="{8EDE2934-EB36-9F0B-C383-78FA771D24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28232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</p:spTree>
    <p:extLst>
      <p:ext uri="{BB962C8B-B14F-4D97-AF65-F5344CB8AC3E}">
        <p14:creationId xmlns:p14="http://schemas.microsoft.com/office/powerpoint/2010/main" val="7608263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9050" y="-4763"/>
            <a:ext cx="12211050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1050" h="6862763">
                <a:moveTo>
                  <a:pt x="0" y="0"/>
                </a:moveTo>
                <a:lnTo>
                  <a:pt x="12211050" y="0"/>
                </a:lnTo>
                <a:lnTo>
                  <a:pt x="12211050" y="6862763"/>
                </a:lnTo>
                <a:lnTo>
                  <a:pt x="2101088" y="6862763"/>
                </a:lnTo>
                <a:lnTo>
                  <a:pt x="431540" y="4818063"/>
                </a:lnTo>
                <a:lnTo>
                  <a:pt x="2017885" y="2453"/>
                </a:lnTo>
                <a:lnTo>
                  <a:pt x="6668" y="144"/>
                </a:lnTo>
                <a:lnTo>
                  <a:pt x="0" y="66051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0CB93E8F-B451-396A-2D80-B9171E7474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Underrubrik 2">
            <a:extLst>
              <a:ext uri="{FF2B5EF4-FFF2-40B4-BE49-F238E27FC236}">
                <a16:creationId xmlns:a16="http://schemas.microsoft.com/office/drawing/2014/main" id="{8EDE2934-EB36-9F0B-C383-78FA771D24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</p:spTree>
    <p:extLst>
      <p:ext uri="{BB962C8B-B14F-4D97-AF65-F5344CB8AC3E}">
        <p14:creationId xmlns:p14="http://schemas.microsoft.com/office/powerpoint/2010/main" val="23684101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F3387863-FD6F-3FF0-6C8F-E93039481F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629B0703-F797-06BD-531F-1C8039FED2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A06BB27F-D9B2-0FA2-AA29-CE273FBBAD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03954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7D5CECEC-E587-8383-3192-3DF9044D6AD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6942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543996F4-113E-3956-49B6-829DEDDBE41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826381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0CEE0424-5C1D-32AF-4FF9-7515EB22B0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717C8797-CD43-D576-28B1-D482391AA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028CF2F7-8BCA-9741-9FD8-E6F1CA6A21E7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795166" y="2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Bild 8">
            <a:extLst>
              <a:ext uri="{FF2B5EF4-FFF2-40B4-BE49-F238E27FC236}">
                <a16:creationId xmlns:a16="http://schemas.microsoft.com/office/drawing/2014/main" id="{F32F0300-26C2-1EBB-7ACB-389B51688F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8863" y="226202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35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1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12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5775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18200" y="1825625"/>
            <a:ext cx="485775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93775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9175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5712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94752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CE20C981-96AF-5135-6DA5-129EC05289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91299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252744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rihandsfigur: Form 5">
            <a:extLst>
              <a:ext uri="{FF2B5EF4-FFF2-40B4-BE49-F238E27FC236}">
                <a16:creationId xmlns:a16="http://schemas.microsoft.com/office/drawing/2014/main" id="{161E6CC6-F1B7-3564-82BC-A0FF0D1AEDC2}"/>
              </a:ext>
            </a:extLst>
          </p:cNvPr>
          <p:cNvSpPr/>
          <p:nvPr userDrawn="1"/>
        </p:nvSpPr>
        <p:spPr>
          <a:xfrm>
            <a:off x="10089357" y="-10969"/>
            <a:ext cx="2114985" cy="687055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14985"/>
              <a:gd name="connsiteY0" fmla="*/ 8659 h 6870556"/>
              <a:gd name="connsiteX1" fmla="*/ 1670844 w 2114985"/>
              <a:gd name="connsiteY1" fmla="*/ 4824269 h 6870556"/>
              <a:gd name="connsiteX2" fmla="*/ 0 w 2114985"/>
              <a:gd name="connsiteY2" fmla="*/ 6870556 h 6870556"/>
              <a:gd name="connsiteX3" fmla="*/ 2102644 w 2114985"/>
              <a:gd name="connsiteY3" fmla="*/ 6868969 h 6870556"/>
              <a:gd name="connsiteX4" fmla="*/ 2114766 w 2114985"/>
              <a:gd name="connsiteY4" fmla="*/ 0 h 6870556"/>
              <a:gd name="connsiteX5" fmla="*/ 84499 w 2114985"/>
              <a:gd name="connsiteY5" fmla="*/ 8659 h 6870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4985" h="6870556">
                <a:moveTo>
                  <a:pt x="84499" y="8659"/>
                </a:moveTo>
                <a:lnTo>
                  <a:pt x="1670844" y="4824269"/>
                </a:lnTo>
                <a:lnTo>
                  <a:pt x="0" y="6870556"/>
                </a:lnTo>
                <a:lnTo>
                  <a:pt x="2102644" y="6868969"/>
                </a:lnTo>
                <a:cubicBezTo>
                  <a:pt x="2100335" y="4581429"/>
                  <a:pt x="2117075" y="2287540"/>
                  <a:pt x="2114766" y="0"/>
                </a:cubicBezTo>
                <a:lnTo>
                  <a:pt x="84499" y="8659"/>
                </a:lnTo>
                <a:close/>
              </a:path>
            </a:pathLst>
          </a:custGeom>
          <a:solidFill>
            <a:srgbClr val="66C1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63000" y="6356350"/>
            <a:ext cx="20129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528B1A43-2816-9378-B9F9-B9199E5FC5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6449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D9EF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3897"/>
            <a:ext cx="2108753" cy="6861897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2644"/>
              <a:gd name="connsiteY0" fmla="*/ 0 h 6861897"/>
              <a:gd name="connsiteX1" fmla="*/ 1670844 w 2102644"/>
              <a:gd name="connsiteY1" fmla="*/ 4815610 h 6861897"/>
              <a:gd name="connsiteX2" fmla="*/ 0 w 2102644"/>
              <a:gd name="connsiteY2" fmla="*/ 6861897 h 6861897"/>
              <a:gd name="connsiteX3" fmla="*/ 2102644 w 2102644"/>
              <a:gd name="connsiteY3" fmla="*/ 6860310 h 6861897"/>
              <a:gd name="connsiteX4" fmla="*/ 2095716 w 2102644"/>
              <a:gd name="connsiteY4" fmla="*/ 4041 h 6861897"/>
              <a:gd name="connsiteX5" fmla="*/ 84499 w 2102644"/>
              <a:gd name="connsiteY5" fmla="*/ 0 h 6861897"/>
              <a:gd name="connsiteX0" fmla="*/ 84499 w 2108753"/>
              <a:gd name="connsiteY0" fmla="*/ 0 h 6861897"/>
              <a:gd name="connsiteX1" fmla="*/ 1670844 w 2108753"/>
              <a:gd name="connsiteY1" fmla="*/ 4815610 h 6861897"/>
              <a:gd name="connsiteX2" fmla="*/ 0 w 2108753"/>
              <a:gd name="connsiteY2" fmla="*/ 6861897 h 6861897"/>
              <a:gd name="connsiteX3" fmla="*/ 2102644 w 2108753"/>
              <a:gd name="connsiteY3" fmla="*/ 6860310 h 6861897"/>
              <a:gd name="connsiteX4" fmla="*/ 2108416 w 2108753"/>
              <a:gd name="connsiteY4" fmla="*/ 4041 h 6861897"/>
              <a:gd name="connsiteX5" fmla="*/ 84499 w 2108753"/>
              <a:gd name="connsiteY5" fmla="*/ 0 h 6861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8753" h="6861897">
                <a:moveTo>
                  <a:pt x="84499" y="0"/>
                </a:moveTo>
                <a:lnTo>
                  <a:pt x="1670844" y="4815610"/>
                </a:lnTo>
                <a:lnTo>
                  <a:pt x="0" y="6861897"/>
                </a:lnTo>
                <a:lnTo>
                  <a:pt x="2102644" y="6860310"/>
                </a:lnTo>
                <a:cubicBezTo>
                  <a:pt x="2100335" y="4572770"/>
                  <a:pt x="2110725" y="2291581"/>
                  <a:pt x="2108416" y="4041"/>
                </a:cubicBezTo>
                <a:lnTo>
                  <a:pt x="8449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8817792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538252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9C83B4D-0072-CA50-510E-3238FB12D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63000" y="6356350"/>
            <a:ext cx="20129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6A5BC5E7-0B1B-38B9-0C1E-CDAB41B2D7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9085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9306048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14934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A7753ADA-763C-8AFE-60B4-C9FE6EDBEAE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93431D72-17BE-5278-CA97-A4E3ADBB0E33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0643497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6431526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bild höger"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E9A38C11-01F6-9D03-1FBC-25B9851E86DB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44166C22-E2AD-709A-7206-065AD936AAD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D566288A-D650-A9AE-12FD-F1612218803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25236196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1/3 bild höger"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22580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25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1800" y="1"/>
            <a:ext cx="79502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195786E0-D383-DC5F-B009-C2920E49484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995527" y="0"/>
            <a:ext cx="3196473" cy="6858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1CB34ADF-5798-C208-EE2A-650EC5D774B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17706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68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39070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3A89EB75-32CD-9F72-F4B2-82FECF44F4C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>
            <a:off x="0" y="0"/>
            <a:ext cx="3196473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0A634BD6-67EF-6469-1918-258C4FEC790B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140438850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09792E-A871-10CC-323D-74260B7C2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379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09792E-A871-10CC-323D-74260B7C2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ubrik 1">
            <a:extLst>
              <a:ext uri="{FF2B5EF4-FFF2-40B4-BE49-F238E27FC236}">
                <a16:creationId xmlns:a16="http://schemas.microsoft.com/office/drawing/2014/main" id="{95DE5F71-E0FB-60E8-E42D-0CA0AE95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47866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093140-AFB2-1132-95BC-481E17E0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38F042F-B160-EE71-1159-1C8D84B2F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DBDCC8C-9FCA-3515-E945-D079CA9E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81CB694E-F379-AC13-87F2-3065C78B777B}"/>
              </a:ext>
            </a:extLst>
          </p:cNvPr>
          <p:cNvSpPr/>
          <p:nvPr userDrawn="1"/>
        </p:nvSpPr>
        <p:spPr>
          <a:xfrm>
            <a:off x="2940163" y="904082"/>
            <a:ext cx="5849394" cy="5049836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955D6167-510C-772B-9841-11B90B50815D}"/>
              </a:ext>
            </a:extLst>
          </p:cNvPr>
          <p:cNvSpPr/>
          <p:nvPr userDrawn="1"/>
        </p:nvSpPr>
        <p:spPr>
          <a:xfrm rot="20535069">
            <a:off x="3582368" y="1413353"/>
            <a:ext cx="4669583" cy="4031294"/>
          </a:xfrm>
          <a:prstGeom prst="hexagon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23464855-4BDD-D503-6B2E-A6DF2E50AE9F}"/>
              </a:ext>
            </a:extLst>
          </p:cNvPr>
          <p:cNvSpPr/>
          <p:nvPr userDrawn="1"/>
        </p:nvSpPr>
        <p:spPr>
          <a:xfrm>
            <a:off x="4463559" y="2219244"/>
            <a:ext cx="2802602" cy="2419512"/>
          </a:xfrm>
          <a:prstGeom prst="hexagon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Platshållare för text 10">
            <a:extLst>
              <a:ext uri="{FF2B5EF4-FFF2-40B4-BE49-F238E27FC236}">
                <a16:creationId xmlns:a16="http://schemas.microsoft.com/office/drawing/2014/main" id="{1CB83589-DAB5-8E9D-6295-BFF6FF70FC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6036" y="2112705"/>
            <a:ext cx="4537363" cy="2498725"/>
          </a:xfrm>
        </p:spPr>
        <p:txBody>
          <a:bodyPr anchor="ctr">
            <a:noAutofit/>
          </a:bodyPr>
          <a:lstStyle>
            <a:lvl1pPr marL="0" indent="0" algn="ctr">
              <a:buNone/>
              <a:defRPr sz="115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4440250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eller påståen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8B88FDA-B539-4B2D-9411-ED872D30D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31E560B-B256-C9A0-B99B-29D51178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2443A5-E0CD-B126-4AFE-A485D58E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A36A8435-F4FA-6DBA-A886-7A305C2C467A}"/>
              </a:ext>
            </a:extLst>
          </p:cNvPr>
          <p:cNvSpPr/>
          <p:nvPr userDrawn="1"/>
        </p:nvSpPr>
        <p:spPr>
          <a:xfrm>
            <a:off x="771183" y="1700213"/>
            <a:ext cx="3149487" cy="2718981"/>
          </a:xfrm>
          <a:prstGeom prst="hexagon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07809150-5BD0-A40F-8EE5-E36680B52BA2}"/>
              </a:ext>
            </a:extLst>
          </p:cNvPr>
          <p:cNvSpPr/>
          <p:nvPr userDrawn="1"/>
        </p:nvSpPr>
        <p:spPr>
          <a:xfrm rot="20535069">
            <a:off x="1116965" y="1974420"/>
            <a:ext cx="2514242" cy="2170568"/>
          </a:xfrm>
          <a:prstGeom prst="hexagon">
            <a:avLst/>
          </a:prstGeom>
          <a:solidFill>
            <a:schemeClr val="accent3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2F786B3-AA9F-7C71-B7A5-BA970C515E0F}"/>
              </a:ext>
            </a:extLst>
          </p:cNvPr>
          <p:cNvSpPr/>
          <p:nvPr userDrawn="1"/>
        </p:nvSpPr>
        <p:spPr>
          <a:xfrm>
            <a:off x="1591425" y="2408335"/>
            <a:ext cx="1509004" cy="1302737"/>
          </a:xfrm>
          <a:prstGeom prst="hexagon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DC0269D-B816-3F2F-41B6-629E07D40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96223" y="2408335"/>
            <a:ext cx="1355725" cy="130273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7200">
                <a:solidFill>
                  <a:srgbClr val="FFFF00"/>
                </a:solidFill>
              </a:defRPr>
            </a:lvl1pPr>
          </a:lstStyle>
          <a:p>
            <a:pPr lvl="0"/>
            <a:r>
              <a:rPr lang="sv-SE"/>
              <a:t>!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B288121-07B8-7C90-C19B-FC4352022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119" y="1722938"/>
            <a:ext cx="6554244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08FD1F74-05BE-6239-F264-8DDCAFF615F3}"/>
              </a:ext>
            </a:extLst>
          </p:cNvPr>
          <p:cNvSpPr/>
          <p:nvPr userDrawn="1"/>
        </p:nvSpPr>
        <p:spPr>
          <a:xfrm>
            <a:off x="-2714625" y="-1"/>
            <a:ext cx="2607945" cy="402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yll själv t.ex. citattecken, utropstecken eller fråge-tecken i rutan med gul text (annars syns inte detta i presentationsläge/ utskrift).</a:t>
            </a:r>
          </a:p>
          <a:p>
            <a:pPr algn="l"/>
            <a:endParaRPr lang="sv-SE" sz="1600"/>
          </a:p>
          <a:p>
            <a:pPr algn="l"/>
            <a:r>
              <a:rPr lang="sv-SE" sz="1600"/>
              <a:t>Vid val av citattecken gå upp till fontstorlek 200 och lägg centrerad.</a:t>
            </a:r>
          </a:p>
          <a:p>
            <a:pPr algn="l"/>
            <a:endParaRPr lang="sv-SE" sz="16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/>
              <a:t>Vid citat: Citerad person nedanför i den mindre textrutan</a:t>
            </a:r>
          </a:p>
          <a:p>
            <a:pPr algn="l"/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2264084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51000" decel="49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d slides added after thi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97D998-5772-F48A-F7BA-7A582AB61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1D3092D-94D7-9404-4A40-A77D3583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BF36466-2F05-E603-8DBB-B6F898FF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30648-32FD-D873-CF12-4976478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7C68154-B8A1-0A31-BE87-13D5715A10B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/>
              <a:t>ANVÄND INTE MALLSIDOR EFTER DENNA SIDA</a:t>
            </a:r>
            <a:endParaRPr lang="sv-SE" sz="6600"/>
          </a:p>
        </p:txBody>
      </p:sp>
    </p:spTree>
    <p:extLst>
      <p:ext uri="{BB962C8B-B14F-4D97-AF65-F5344CB8AC3E}">
        <p14:creationId xmlns:p14="http://schemas.microsoft.com/office/powerpoint/2010/main" val="20948869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93775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54614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amsida 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tshållare för bild 21">
            <a:extLst>
              <a:ext uri="{FF2B5EF4-FFF2-40B4-BE49-F238E27FC236}">
                <a16:creationId xmlns:a16="http://schemas.microsoft.com/office/drawing/2014/main" id="{599A379F-8177-3518-85A5-30BFA55EF26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9050" y="-4763"/>
            <a:ext cx="12211050" cy="6862763"/>
          </a:xfrm>
          <a:custGeom>
            <a:avLst/>
            <a:gdLst>
              <a:gd name="connsiteX0" fmla="*/ 0 w 12211050"/>
              <a:gd name="connsiteY0" fmla="*/ 0 h 6862763"/>
              <a:gd name="connsiteX1" fmla="*/ 12211050 w 12211050"/>
              <a:gd name="connsiteY1" fmla="*/ 0 h 6862763"/>
              <a:gd name="connsiteX2" fmla="*/ 12211050 w 12211050"/>
              <a:gd name="connsiteY2" fmla="*/ 6862763 h 6862763"/>
              <a:gd name="connsiteX3" fmla="*/ 2101088 w 12211050"/>
              <a:gd name="connsiteY3" fmla="*/ 6862763 h 6862763"/>
              <a:gd name="connsiteX4" fmla="*/ 431540 w 12211050"/>
              <a:gd name="connsiteY4" fmla="*/ 4818063 h 6862763"/>
              <a:gd name="connsiteX5" fmla="*/ 2017885 w 12211050"/>
              <a:gd name="connsiteY5" fmla="*/ 2453 h 6862763"/>
              <a:gd name="connsiteX6" fmla="*/ 6668 w 12211050"/>
              <a:gd name="connsiteY6" fmla="*/ 144 h 6862763"/>
              <a:gd name="connsiteX7" fmla="*/ 0 w 12211050"/>
              <a:gd name="connsiteY7" fmla="*/ 6605194 h 6862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1050" h="6862763">
                <a:moveTo>
                  <a:pt x="0" y="0"/>
                </a:moveTo>
                <a:lnTo>
                  <a:pt x="12211050" y="0"/>
                </a:lnTo>
                <a:lnTo>
                  <a:pt x="12211050" y="6862763"/>
                </a:lnTo>
                <a:lnTo>
                  <a:pt x="2101088" y="6862763"/>
                </a:lnTo>
                <a:lnTo>
                  <a:pt x="431540" y="4818063"/>
                </a:lnTo>
                <a:lnTo>
                  <a:pt x="2017885" y="2453"/>
                </a:lnTo>
                <a:lnTo>
                  <a:pt x="6668" y="144"/>
                </a:lnTo>
                <a:lnTo>
                  <a:pt x="0" y="66051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endParaRPr lang="sv-SE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888FA0F3-0574-1303-9DAB-0EE2433ECE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261" y="311212"/>
            <a:ext cx="1265053" cy="815850"/>
          </a:xfrm>
          <a:prstGeom prst="rect">
            <a:avLst/>
          </a:prstGeom>
        </p:spPr>
      </p:pic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AB671B3-F376-AFED-D648-C01D07054F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C42594A-4ABC-1905-146D-68B1A8070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02255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7D4F622E-3E03-D02A-3565-D27BDDDB2E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34B5A43F-9A2C-C3F7-8157-210D31845D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6857966 h 6858000"/>
              <a:gd name="connsiteX1" fmla="*/ 12192000 w 12192000"/>
              <a:gd name="connsiteY1" fmla="*/ 6858000 h 6858000"/>
              <a:gd name="connsiteX2" fmla="*/ 12189112 w 12192000"/>
              <a:gd name="connsiteY2" fmla="*/ 6858000 h 6858000"/>
              <a:gd name="connsiteX3" fmla="*/ 0 w 12192000"/>
              <a:gd name="connsiteY3" fmla="*/ 0 h 6858000"/>
              <a:gd name="connsiteX4" fmla="*/ 10205882 w 12192000"/>
              <a:gd name="connsiteY4" fmla="*/ 0 h 6858000"/>
              <a:gd name="connsiteX5" fmla="*/ 11772900 w 12192000"/>
              <a:gd name="connsiteY5" fmla="*/ 4798134 h 6858000"/>
              <a:gd name="connsiteX6" fmla="*/ 10091828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192000" y="6857966"/>
                </a:moveTo>
                <a:lnTo>
                  <a:pt x="12192000" y="6858000"/>
                </a:lnTo>
                <a:lnTo>
                  <a:pt x="12189112" y="6858000"/>
                </a:lnTo>
                <a:close/>
                <a:moveTo>
                  <a:pt x="0" y="0"/>
                </a:moveTo>
                <a:lnTo>
                  <a:pt x="10205882" y="0"/>
                </a:lnTo>
                <a:lnTo>
                  <a:pt x="11772900" y="4798134"/>
                </a:lnTo>
                <a:lnTo>
                  <a:pt x="100918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2B61C74B-A711-4E05-FF8D-B6D73F8B48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6095" y="3288218"/>
            <a:ext cx="7762995" cy="523875"/>
          </a:xfrm>
        </p:spPr>
        <p:txBody>
          <a:bodyPr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sv-SE"/>
              <a:t>Datum	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18D4FF79-BA9F-BC4A-E140-151B62BF96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0987" y="311212"/>
            <a:ext cx="1265053" cy="815850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3533E74F-E803-55AB-6DB9-17248A7269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ADADA163-0901-6BC0-792D-692BCE3832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91618" y="5467855"/>
            <a:ext cx="7757472" cy="933254"/>
          </a:xfrm>
        </p:spPr>
        <p:txBody>
          <a:bodyPr anchor="t">
            <a:noAutofit/>
          </a:bodyPr>
          <a:lstStyle>
            <a:lvl1pPr marL="0" indent="0" algn="l">
              <a:buNone/>
              <a:defRPr sz="20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47226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0C39B327-123D-7871-5440-8C925654D1EF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996383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2/3 bild höger (lju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B0979C0-7088-BC71-A9C3-FD1FCD12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062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0979C0-7088-BC71-A9C3-FD1FCD12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46320" cy="1325563"/>
          </a:xfrm>
        </p:spPr>
        <p:txBody>
          <a:bodyPr vert="horz"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2291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786435E8-4F97-8F50-FBDE-2705F23335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3946" y="1"/>
            <a:ext cx="6948055" cy="6858000"/>
          </a:xfrm>
          <a:custGeom>
            <a:avLst/>
            <a:gdLst>
              <a:gd name="connsiteX0" fmla="*/ 1584070 w 6948055"/>
              <a:gd name="connsiteY0" fmla="*/ 0 h 6858000"/>
              <a:gd name="connsiteX1" fmla="*/ 6948055 w 6948055"/>
              <a:gd name="connsiteY1" fmla="*/ 0 h 6858000"/>
              <a:gd name="connsiteX2" fmla="*/ 6948055 w 6948055"/>
              <a:gd name="connsiteY2" fmla="*/ 6858000 h 6858000"/>
              <a:gd name="connsiteX3" fmla="*/ 1684527 w 6948055"/>
              <a:gd name="connsiteY3" fmla="*/ 6858000 h 6858000"/>
              <a:gd name="connsiteX4" fmla="*/ 0 w 6948055"/>
              <a:gd name="connsiteY4" fmla="*/ 48213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8055" h="6858000">
                <a:moveTo>
                  <a:pt x="1584070" y="0"/>
                </a:moveTo>
                <a:lnTo>
                  <a:pt x="6948055" y="0"/>
                </a:lnTo>
                <a:lnTo>
                  <a:pt x="6948055" y="6858000"/>
                </a:lnTo>
                <a:lnTo>
                  <a:pt x="1684527" y="6858000"/>
                </a:lnTo>
                <a:lnTo>
                  <a:pt x="0" y="482138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435BE107-08F2-3D07-8689-1F27449BD520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33812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 3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6F04DD3D-CB7D-7AD5-CC4A-5170CE050E36}"/>
              </a:ext>
            </a:extLst>
          </p:cNvPr>
          <p:cNvSpPr/>
          <p:nvPr userDrawn="1"/>
        </p:nvSpPr>
        <p:spPr>
          <a:xfrm>
            <a:off x="10089357" y="-4619"/>
            <a:ext cx="2102644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D4E1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9F8E1C-D67B-B864-85DC-39383FED6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51157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E4817055-734D-31D6-20A4-ADC5A53FE7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70563" y="223821"/>
            <a:ext cx="560382" cy="479968"/>
          </a:xfrm>
          <a:prstGeom prst="rect">
            <a:avLst/>
          </a:prstGeom>
        </p:spPr>
      </p:pic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D85D3BEE-7076-0B70-FB57-1BAB73733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0145" y="6356350"/>
            <a:ext cx="1319212" cy="365125"/>
          </a:xfrm>
        </p:spPr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83920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dubbelpil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404B86CE-632C-F4D4-9961-FF65124C5F9D}"/>
              </a:ext>
            </a:extLst>
          </p:cNvPr>
          <p:cNvSpPr/>
          <p:nvPr userDrawn="1"/>
        </p:nvSpPr>
        <p:spPr>
          <a:xfrm>
            <a:off x="8290560" y="2"/>
            <a:ext cx="3909915" cy="6857996"/>
          </a:xfrm>
          <a:custGeom>
            <a:avLst/>
            <a:gdLst>
              <a:gd name="connsiteX0" fmla="*/ 1714500 w 4450935"/>
              <a:gd name="connsiteY0" fmla="*/ 0 h 6857996"/>
              <a:gd name="connsiteX1" fmla="*/ 44509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0" fmla="*/ 1714500 w 4450935"/>
              <a:gd name="connsiteY0" fmla="*/ 0 h 6857996"/>
              <a:gd name="connsiteX1" fmla="*/ 4031835 w 4450935"/>
              <a:gd name="connsiteY1" fmla="*/ 0 h 6857996"/>
              <a:gd name="connsiteX2" fmla="*/ 4450935 w 4450935"/>
              <a:gd name="connsiteY2" fmla="*/ 6857996 h 6857996"/>
              <a:gd name="connsiteX3" fmla="*/ 1714500 w 4450935"/>
              <a:gd name="connsiteY3" fmla="*/ 6857996 h 6857996"/>
              <a:gd name="connsiteX4" fmla="*/ 0 w 4450935"/>
              <a:gd name="connsiteY4" fmla="*/ 3428998 h 6857996"/>
              <a:gd name="connsiteX5" fmla="*/ 1714500 w 4450935"/>
              <a:gd name="connsiteY5" fmla="*/ 0 h 6857996"/>
              <a:gd name="connsiteX0" fmla="*/ 1714500 w 4031835"/>
              <a:gd name="connsiteY0" fmla="*/ 0 h 6857996"/>
              <a:gd name="connsiteX1" fmla="*/ 4031835 w 4031835"/>
              <a:gd name="connsiteY1" fmla="*/ 0 h 6857996"/>
              <a:gd name="connsiteX2" fmla="*/ 4024215 w 4031835"/>
              <a:gd name="connsiteY2" fmla="*/ 6850376 h 6857996"/>
              <a:gd name="connsiteX3" fmla="*/ 1714500 w 4031835"/>
              <a:gd name="connsiteY3" fmla="*/ 6857996 h 6857996"/>
              <a:gd name="connsiteX4" fmla="*/ 0 w 4031835"/>
              <a:gd name="connsiteY4" fmla="*/ 3428998 h 6857996"/>
              <a:gd name="connsiteX5" fmla="*/ 1714500 w 4031835"/>
              <a:gd name="connsiteY5" fmla="*/ 0 h 6857996"/>
              <a:gd name="connsiteX0" fmla="*/ 1714500 w 4024215"/>
              <a:gd name="connsiteY0" fmla="*/ 0 h 6857996"/>
              <a:gd name="connsiteX1" fmla="*/ 3909915 w 4024215"/>
              <a:gd name="connsiteY1" fmla="*/ 0 h 6857996"/>
              <a:gd name="connsiteX2" fmla="*/ 4024215 w 4024215"/>
              <a:gd name="connsiteY2" fmla="*/ 6850376 h 6857996"/>
              <a:gd name="connsiteX3" fmla="*/ 1714500 w 4024215"/>
              <a:gd name="connsiteY3" fmla="*/ 6857996 h 6857996"/>
              <a:gd name="connsiteX4" fmla="*/ 0 w 4024215"/>
              <a:gd name="connsiteY4" fmla="*/ 3428998 h 6857996"/>
              <a:gd name="connsiteX5" fmla="*/ 1714500 w 4024215"/>
              <a:gd name="connsiteY5" fmla="*/ 0 h 6857996"/>
              <a:gd name="connsiteX0" fmla="*/ 1714500 w 3909915"/>
              <a:gd name="connsiteY0" fmla="*/ 0 h 6857996"/>
              <a:gd name="connsiteX1" fmla="*/ 3909915 w 3909915"/>
              <a:gd name="connsiteY1" fmla="*/ 0 h 6857996"/>
              <a:gd name="connsiteX2" fmla="*/ 3909915 w 3909915"/>
              <a:gd name="connsiteY2" fmla="*/ 6857996 h 6857996"/>
              <a:gd name="connsiteX3" fmla="*/ 1714500 w 3909915"/>
              <a:gd name="connsiteY3" fmla="*/ 6857996 h 6857996"/>
              <a:gd name="connsiteX4" fmla="*/ 0 w 3909915"/>
              <a:gd name="connsiteY4" fmla="*/ 3428998 h 6857996"/>
              <a:gd name="connsiteX5" fmla="*/ 1714500 w 3909915"/>
              <a:gd name="connsiteY5" fmla="*/ 0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09915" h="6857996">
                <a:moveTo>
                  <a:pt x="1714500" y="0"/>
                </a:moveTo>
                <a:lnTo>
                  <a:pt x="3909915" y="0"/>
                </a:lnTo>
                <a:lnTo>
                  <a:pt x="3909915" y="6857996"/>
                </a:lnTo>
                <a:lnTo>
                  <a:pt x="1714500" y="6857996"/>
                </a:lnTo>
                <a:lnTo>
                  <a:pt x="0" y="3428998"/>
                </a:lnTo>
                <a:lnTo>
                  <a:pt x="1714500" y="0"/>
                </a:lnTo>
                <a:close/>
              </a:path>
            </a:pathLst>
          </a:custGeom>
          <a:solidFill>
            <a:schemeClr val="accent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ihandsfigur: Form 12">
            <a:extLst>
              <a:ext uri="{FF2B5EF4-FFF2-40B4-BE49-F238E27FC236}">
                <a16:creationId xmlns:a16="http://schemas.microsoft.com/office/drawing/2014/main" id="{B10A0EF0-F6BF-D32A-6722-3F11180E7527}"/>
              </a:ext>
            </a:extLst>
          </p:cNvPr>
          <p:cNvSpPr/>
          <p:nvPr userDrawn="1"/>
        </p:nvSpPr>
        <p:spPr>
          <a:xfrm>
            <a:off x="8795166" y="2"/>
            <a:ext cx="3396835" cy="6857996"/>
          </a:xfrm>
          <a:custGeom>
            <a:avLst/>
            <a:gdLst>
              <a:gd name="connsiteX0" fmla="*/ 1714500 w 3396835"/>
              <a:gd name="connsiteY0" fmla="*/ 0 h 6857996"/>
              <a:gd name="connsiteX1" fmla="*/ 3396835 w 3396835"/>
              <a:gd name="connsiteY1" fmla="*/ 0 h 6857996"/>
              <a:gd name="connsiteX2" fmla="*/ 3396835 w 3396835"/>
              <a:gd name="connsiteY2" fmla="*/ 6857996 h 6857996"/>
              <a:gd name="connsiteX3" fmla="*/ 1714500 w 3396835"/>
              <a:gd name="connsiteY3" fmla="*/ 6857996 h 6857996"/>
              <a:gd name="connsiteX4" fmla="*/ 0 w 3396835"/>
              <a:gd name="connsiteY4" fmla="*/ 3428998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6835" h="6857996">
                <a:moveTo>
                  <a:pt x="1714500" y="0"/>
                </a:moveTo>
                <a:lnTo>
                  <a:pt x="3396835" y="0"/>
                </a:lnTo>
                <a:lnTo>
                  <a:pt x="3396835" y="6857996"/>
                </a:lnTo>
                <a:lnTo>
                  <a:pt x="1714500" y="6857996"/>
                </a:lnTo>
                <a:lnTo>
                  <a:pt x="0" y="3428998"/>
                </a:lnTo>
                <a:close/>
              </a:path>
            </a:pathLst>
          </a:custGeom>
          <a:solidFill>
            <a:srgbClr val="66BD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ED69E976-927A-BDD8-2818-54CC112BD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6738" y="6356350"/>
            <a:ext cx="13192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00BBF03F-2703-4623-96C8-7B9E9BF047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124700" cy="434022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6D17E0-8085-F3B1-6855-647527B18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1247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EE345626-3D31-01A1-E85E-F9FD6C4301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5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57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7333">
                                          <p:cBhvr additive="base">
                                            <p:cTn id="7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7333">
                                          <p:cBhvr additive="base">
                                            <p:cTn id="8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7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7333">
                                          <p:cBhvr additive="base">
                                            <p:cTn id="11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7333">
                                          <p:cBhvr additive="base">
                                            <p:cTn id="12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3" grpId="0" animBg="1"/>
        </p:bldLst>
      </p:timing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ubrik + två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76250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11863" y="1825625"/>
            <a:ext cx="4762500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6150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62227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5718-60B2-496E-9FAD-9B02076132A9}" type="datetimeFigureOut">
              <a:rPr lang="en-GB" smtClean="0"/>
              <a:pPr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75714" y="6356350"/>
            <a:ext cx="19002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4332FA7-768D-7751-624D-9DE99EE46D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783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252744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168DBA5F-CD0F-117F-4428-AAEDD9EF6079}"/>
              </a:ext>
            </a:extLst>
          </p:cNvPr>
          <p:cNvSpPr/>
          <p:nvPr userDrawn="1"/>
        </p:nvSpPr>
        <p:spPr>
          <a:xfrm>
            <a:off x="10089357" y="-4619"/>
            <a:ext cx="2102806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2806"/>
              <a:gd name="connsiteY0" fmla="*/ 2309 h 6864206"/>
              <a:gd name="connsiteX1" fmla="*/ 1670844 w 2102806"/>
              <a:gd name="connsiteY1" fmla="*/ 4817919 h 6864206"/>
              <a:gd name="connsiteX2" fmla="*/ 0 w 2102806"/>
              <a:gd name="connsiteY2" fmla="*/ 6864206 h 6864206"/>
              <a:gd name="connsiteX3" fmla="*/ 2102644 w 2102806"/>
              <a:gd name="connsiteY3" fmla="*/ 6862619 h 6864206"/>
              <a:gd name="connsiteX4" fmla="*/ 2102066 w 2102806"/>
              <a:gd name="connsiteY4" fmla="*/ 0 h 6864206"/>
              <a:gd name="connsiteX5" fmla="*/ 84499 w 2102806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806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4375" y="2287540"/>
                  <a:pt x="210206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0094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43952" y="6356350"/>
            <a:ext cx="203199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EC27C74B-5DD2-B481-3589-329A5E80BC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8997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642DD6C6-FAB2-F335-D154-9DAA521330D1}"/>
              </a:ext>
            </a:extLst>
          </p:cNvPr>
          <p:cNvSpPr/>
          <p:nvPr userDrawn="1"/>
        </p:nvSpPr>
        <p:spPr>
          <a:xfrm>
            <a:off x="9654405" y="-7793"/>
            <a:ext cx="2134370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2644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098025" y="2287540"/>
                  <a:pt x="2095716" y="0"/>
                </a:cubicBezTo>
                <a:lnTo>
                  <a:pt x="84499" y="2309"/>
                </a:lnTo>
                <a:close/>
              </a:path>
            </a:pathLst>
          </a:custGeom>
          <a:solidFill>
            <a:srgbClr val="89D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ihandsfigur: Form 8">
            <a:extLst>
              <a:ext uri="{FF2B5EF4-FFF2-40B4-BE49-F238E27FC236}">
                <a16:creationId xmlns:a16="http://schemas.microsoft.com/office/drawing/2014/main" id="{40648620-86A0-A6D3-5BD2-517EEEA2F2D6}"/>
              </a:ext>
            </a:extLst>
          </p:cNvPr>
          <p:cNvSpPr/>
          <p:nvPr userDrawn="1"/>
        </p:nvSpPr>
        <p:spPr>
          <a:xfrm>
            <a:off x="10089357" y="-6206"/>
            <a:ext cx="2105703" cy="6864206"/>
          </a:xfrm>
          <a:custGeom>
            <a:avLst/>
            <a:gdLst>
              <a:gd name="connsiteX0" fmla="*/ 101600 w 2133600"/>
              <a:gd name="connsiteY0" fmla="*/ 0 h 6934200"/>
              <a:gd name="connsiteX1" fmla="*/ 1701800 w 2133600"/>
              <a:gd name="connsiteY1" fmla="*/ 4864100 h 6934200"/>
              <a:gd name="connsiteX2" fmla="*/ 0 w 2133600"/>
              <a:gd name="connsiteY2" fmla="*/ 6934200 h 6934200"/>
              <a:gd name="connsiteX3" fmla="*/ 2133600 w 2133600"/>
              <a:gd name="connsiteY3" fmla="*/ 6908800 h 6934200"/>
              <a:gd name="connsiteX4" fmla="*/ 2133600 w 2133600"/>
              <a:gd name="connsiteY4" fmla="*/ 25400 h 6934200"/>
              <a:gd name="connsiteX5" fmla="*/ 101600 w 2133600"/>
              <a:gd name="connsiteY5" fmla="*/ 0 h 6934200"/>
              <a:gd name="connsiteX0" fmla="*/ 115455 w 2133600"/>
              <a:gd name="connsiteY0" fmla="*/ 16163 h 6908800"/>
              <a:gd name="connsiteX1" fmla="*/ 1701800 w 2133600"/>
              <a:gd name="connsiteY1" fmla="*/ 4838700 h 6908800"/>
              <a:gd name="connsiteX2" fmla="*/ 0 w 2133600"/>
              <a:gd name="connsiteY2" fmla="*/ 6908800 h 6908800"/>
              <a:gd name="connsiteX3" fmla="*/ 2133600 w 2133600"/>
              <a:gd name="connsiteY3" fmla="*/ 6883400 h 6908800"/>
              <a:gd name="connsiteX4" fmla="*/ 2133600 w 2133600"/>
              <a:gd name="connsiteY4" fmla="*/ 0 h 6908800"/>
              <a:gd name="connsiteX5" fmla="*/ 115455 w 2133600"/>
              <a:gd name="connsiteY5" fmla="*/ 16163 h 6908800"/>
              <a:gd name="connsiteX0" fmla="*/ 115455 w 2133600"/>
              <a:gd name="connsiteY0" fmla="*/ 0 h 6892637"/>
              <a:gd name="connsiteX1" fmla="*/ 1701800 w 2133600"/>
              <a:gd name="connsiteY1" fmla="*/ 4822537 h 6892637"/>
              <a:gd name="connsiteX2" fmla="*/ 0 w 2133600"/>
              <a:gd name="connsiteY2" fmla="*/ 6892637 h 6892637"/>
              <a:gd name="connsiteX3" fmla="*/ 2133600 w 2133600"/>
              <a:gd name="connsiteY3" fmla="*/ 6867237 h 6892637"/>
              <a:gd name="connsiteX4" fmla="*/ 2126672 w 2133600"/>
              <a:gd name="connsiteY4" fmla="*/ 4618 h 6892637"/>
              <a:gd name="connsiteX5" fmla="*/ 115455 w 2133600"/>
              <a:gd name="connsiteY5" fmla="*/ 0 h 6892637"/>
              <a:gd name="connsiteX0" fmla="*/ 115455 w 2133600"/>
              <a:gd name="connsiteY0" fmla="*/ 2309 h 6888019"/>
              <a:gd name="connsiteX1" fmla="*/ 1701800 w 2133600"/>
              <a:gd name="connsiteY1" fmla="*/ 4817919 h 6888019"/>
              <a:gd name="connsiteX2" fmla="*/ 0 w 2133600"/>
              <a:gd name="connsiteY2" fmla="*/ 6888019 h 6888019"/>
              <a:gd name="connsiteX3" fmla="*/ 2133600 w 2133600"/>
              <a:gd name="connsiteY3" fmla="*/ 6862619 h 6888019"/>
              <a:gd name="connsiteX4" fmla="*/ 2126672 w 2133600"/>
              <a:gd name="connsiteY4" fmla="*/ 0 h 6888019"/>
              <a:gd name="connsiteX5" fmla="*/ 115455 w 2133600"/>
              <a:gd name="connsiteY5" fmla="*/ 2309 h 6888019"/>
              <a:gd name="connsiteX0" fmla="*/ 98786 w 2116931"/>
              <a:gd name="connsiteY0" fmla="*/ 2309 h 6862619"/>
              <a:gd name="connsiteX1" fmla="*/ 1685131 w 2116931"/>
              <a:gd name="connsiteY1" fmla="*/ 4817919 h 6862619"/>
              <a:gd name="connsiteX2" fmla="*/ 0 w 2116931"/>
              <a:gd name="connsiteY2" fmla="*/ 6859444 h 6862619"/>
              <a:gd name="connsiteX3" fmla="*/ 2116931 w 2116931"/>
              <a:gd name="connsiteY3" fmla="*/ 6862619 h 6862619"/>
              <a:gd name="connsiteX4" fmla="*/ 2110003 w 2116931"/>
              <a:gd name="connsiteY4" fmla="*/ 0 h 6862619"/>
              <a:gd name="connsiteX5" fmla="*/ 98786 w 2116931"/>
              <a:gd name="connsiteY5" fmla="*/ 2309 h 6862619"/>
              <a:gd name="connsiteX0" fmla="*/ 98786 w 2116931"/>
              <a:gd name="connsiteY0" fmla="*/ 2309 h 6866587"/>
              <a:gd name="connsiteX1" fmla="*/ 1685131 w 2116931"/>
              <a:gd name="connsiteY1" fmla="*/ 4817919 h 6866587"/>
              <a:gd name="connsiteX2" fmla="*/ 0 w 2116931"/>
              <a:gd name="connsiteY2" fmla="*/ 6866587 h 6866587"/>
              <a:gd name="connsiteX3" fmla="*/ 2116931 w 2116931"/>
              <a:gd name="connsiteY3" fmla="*/ 6862619 h 6866587"/>
              <a:gd name="connsiteX4" fmla="*/ 2110003 w 2116931"/>
              <a:gd name="connsiteY4" fmla="*/ 0 h 6866587"/>
              <a:gd name="connsiteX5" fmla="*/ 98786 w 2116931"/>
              <a:gd name="connsiteY5" fmla="*/ 2309 h 6866587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5716 w 2102644"/>
              <a:gd name="connsiteY4" fmla="*/ 0 h 6864206"/>
              <a:gd name="connsiteX5" fmla="*/ 84499 w 2102644"/>
              <a:gd name="connsiteY5" fmla="*/ 2309 h 6864206"/>
              <a:gd name="connsiteX0" fmla="*/ 84499 w 2105703"/>
              <a:gd name="connsiteY0" fmla="*/ 0 h 6861897"/>
              <a:gd name="connsiteX1" fmla="*/ 1670844 w 2105703"/>
              <a:gd name="connsiteY1" fmla="*/ 4815610 h 6861897"/>
              <a:gd name="connsiteX2" fmla="*/ 0 w 2105703"/>
              <a:gd name="connsiteY2" fmla="*/ 6861897 h 6861897"/>
              <a:gd name="connsiteX3" fmla="*/ 2102644 w 2105703"/>
              <a:gd name="connsiteY3" fmla="*/ 6860310 h 6861897"/>
              <a:gd name="connsiteX4" fmla="*/ 2105241 w 2105703"/>
              <a:gd name="connsiteY4" fmla="*/ 866 h 6861897"/>
              <a:gd name="connsiteX5" fmla="*/ 84499 w 2105703"/>
              <a:gd name="connsiteY5" fmla="*/ 0 h 6861897"/>
              <a:gd name="connsiteX0" fmla="*/ 84499 w 2105703"/>
              <a:gd name="connsiteY0" fmla="*/ 5484 h 6867381"/>
              <a:gd name="connsiteX1" fmla="*/ 1670844 w 2105703"/>
              <a:gd name="connsiteY1" fmla="*/ 4821094 h 6867381"/>
              <a:gd name="connsiteX2" fmla="*/ 0 w 2105703"/>
              <a:gd name="connsiteY2" fmla="*/ 6867381 h 6867381"/>
              <a:gd name="connsiteX3" fmla="*/ 2102644 w 2105703"/>
              <a:gd name="connsiteY3" fmla="*/ 6865794 h 6867381"/>
              <a:gd name="connsiteX4" fmla="*/ 2105241 w 2105703"/>
              <a:gd name="connsiteY4" fmla="*/ 0 h 6867381"/>
              <a:gd name="connsiteX5" fmla="*/ 84499 w 2105703"/>
              <a:gd name="connsiteY5" fmla="*/ 5484 h 6867381"/>
              <a:gd name="connsiteX0" fmla="*/ 84499 w 2105703"/>
              <a:gd name="connsiteY0" fmla="*/ 15009 h 6876906"/>
              <a:gd name="connsiteX1" fmla="*/ 1670844 w 2105703"/>
              <a:gd name="connsiteY1" fmla="*/ 4830619 h 6876906"/>
              <a:gd name="connsiteX2" fmla="*/ 0 w 2105703"/>
              <a:gd name="connsiteY2" fmla="*/ 6876906 h 6876906"/>
              <a:gd name="connsiteX3" fmla="*/ 2102644 w 2105703"/>
              <a:gd name="connsiteY3" fmla="*/ 6875319 h 6876906"/>
              <a:gd name="connsiteX4" fmla="*/ 2105241 w 2105703"/>
              <a:gd name="connsiteY4" fmla="*/ 0 h 6876906"/>
              <a:gd name="connsiteX5" fmla="*/ 84499 w 2105703"/>
              <a:gd name="connsiteY5" fmla="*/ 15009 h 6876906"/>
              <a:gd name="connsiteX0" fmla="*/ 84499 w 2102644"/>
              <a:gd name="connsiteY0" fmla="*/ 2309 h 6864206"/>
              <a:gd name="connsiteX1" fmla="*/ 1670844 w 2102644"/>
              <a:gd name="connsiteY1" fmla="*/ 4817919 h 6864206"/>
              <a:gd name="connsiteX2" fmla="*/ 0 w 2102644"/>
              <a:gd name="connsiteY2" fmla="*/ 6864206 h 6864206"/>
              <a:gd name="connsiteX3" fmla="*/ 2102644 w 2102644"/>
              <a:gd name="connsiteY3" fmla="*/ 6862619 h 6864206"/>
              <a:gd name="connsiteX4" fmla="*/ 2098891 w 2102644"/>
              <a:gd name="connsiteY4" fmla="*/ 0 h 6864206"/>
              <a:gd name="connsiteX5" fmla="*/ 84499 w 2102644"/>
              <a:gd name="connsiteY5" fmla="*/ 2309 h 6864206"/>
              <a:gd name="connsiteX0" fmla="*/ 84499 w 2102644"/>
              <a:gd name="connsiteY0" fmla="*/ 11834 h 6873731"/>
              <a:gd name="connsiteX1" fmla="*/ 1670844 w 2102644"/>
              <a:gd name="connsiteY1" fmla="*/ 4827444 h 6873731"/>
              <a:gd name="connsiteX2" fmla="*/ 0 w 2102644"/>
              <a:gd name="connsiteY2" fmla="*/ 6873731 h 6873731"/>
              <a:gd name="connsiteX3" fmla="*/ 2102644 w 2102644"/>
              <a:gd name="connsiteY3" fmla="*/ 6872144 h 6873731"/>
              <a:gd name="connsiteX4" fmla="*/ 2092541 w 2102644"/>
              <a:gd name="connsiteY4" fmla="*/ 0 h 6873731"/>
              <a:gd name="connsiteX5" fmla="*/ 84499 w 2102644"/>
              <a:gd name="connsiteY5" fmla="*/ 11834 h 6873731"/>
              <a:gd name="connsiteX0" fmla="*/ 84499 w 2105703"/>
              <a:gd name="connsiteY0" fmla="*/ 2309 h 6864206"/>
              <a:gd name="connsiteX1" fmla="*/ 1670844 w 2105703"/>
              <a:gd name="connsiteY1" fmla="*/ 4817919 h 6864206"/>
              <a:gd name="connsiteX2" fmla="*/ 0 w 2105703"/>
              <a:gd name="connsiteY2" fmla="*/ 6864206 h 6864206"/>
              <a:gd name="connsiteX3" fmla="*/ 2102644 w 2105703"/>
              <a:gd name="connsiteY3" fmla="*/ 6862619 h 6864206"/>
              <a:gd name="connsiteX4" fmla="*/ 2105241 w 2105703"/>
              <a:gd name="connsiteY4" fmla="*/ 0 h 6864206"/>
              <a:gd name="connsiteX5" fmla="*/ 84499 w 2105703"/>
              <a:gd name="connsiteY5" fmla="*/ 2309 h 686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5703" h="6864206">
                <a:moveTo>
                  <a:pt x="84499" y="2309"/>
                </a:moveTo>
                <a:lnTo>
                  <a:pt x="1670844" y="4817919"/>
                </a:lnTo>
                <a:lnTo>
                  <a:pt x="0" y="6864206"/>
                </a:lnTo>
                <a:lnTo>
                  <a:pt x="2102644" y="6862619"/>
                </a:lnTo>
                <a:cubicBezTo>
                  <a:pt x="2100335" y="4575079"/>
                  <a:pt x="2107550" y="2287540"/>
                  <a:pt x="2105241" y="0"/>
                </a:cubicBezTo>
                <a:lnTo>
                  <a:pt x="84499" y="23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8897109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723783" cy="43402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5712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84C3BD01-E488-4B64-A04E-23BB7B336F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393CB205-0ABD-8766-F7F5-3A4C42EFF3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422856" y="221456"/>
            <a:ext cx="573882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60524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ida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AE6C38-C2EA-316F-AAB8-47D8B78F5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5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E6C38-C2EA-316F-AAB8-47D8B78F5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0C6180E-8AA2-3277-A3FD-4A6BA4079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931F59B-69AB-F1B0-50AC-534A5C740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FC706FC-B74A-7873-C1E2-2FF12B835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FB78EA-4B44-1A7E-57D6-0B28CCEA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38DADB9-19A8-55AA-664E-3EF6ED455336}"/>
              </a:ext>
            </a:extLst>
          </p:cNvPr>
          <p:cNvSpPr/>
          <p:nvPr userDrawn="1"/>
        </p:nvSpPr>
        <p:spPr>
          <a:xfrm>
            <a:off x="839788" y="1808163"/>
            <a:ext cx="10512425" cy="406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922795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1B6E0B08-E7B9-C881-1CDC-AAAD3CBB19CB}"/>
              </a:ext>
            </a:extLst>
          </p:cNvPr>
          <p:cNvSpPr/>
          <p:nvPr userDrawn="1"/>
        </p:nvSpPr>
        <p:spPr>
          <a:xfrm>
            <a:off x="0" y="2"/>
            <a:ext cx="11353800" cy="6857996"/>
          </a:xfrm>
          <a:custGeom>
            <a:avLst/>
            <a:gdLst>
              <a:gd name="connsiteX0" fmla="*/ 0 w 11353800"/>
              <a:gd name="connsiteY0" fmla="*/ 0 h 6857996"/>
              <a:gd name="connsiteX1" fmla="*/ 9639300 w 11353800"/>
              <a:gd name="connsiteY1" fmla="*/ 0 h 6857996"/>
              <a:gd name="connsiteX2" fmla="*/ 11353800 w 11353800"/>
              <a:gd name="connsiteY2" fmla="*/ 3428998 h 6857996"/>
              <a:gd name="connsiteX3" fmla="*/ 9639300 w 11353800"/>
              <a:gd name="connsiteY3" fmla="*/ 6857996 h 6857996"/>
              <a:gd name="connsiteX4" fmla="*/ 0 w 11353800"/>
              <a:gd name="connsiteY4" fmla="*/ 6857996 h 685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3800" h="6857996">
                <a:moveTo>
                  <a:pt x="0" y="0"/>
                </a:moveTo>
                <a:lnTo>
                  <a:pt x="9639300" y="0"/>
                </a:lnTo>
                <a:lnTo>
                  <a:pt x="11353800" y="3428998"/>
                </a:lnTo>
                <a:lnTo>
                  <a:pt x="9639300" y="6857996"/>
                </a:lnTo>
                <a:lnTo>
                  <a:pt x="0" y="68579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Frihandsfigur: Form 7">
            <a:extLst>
              <a:ext uri="{FF2B5EF4-FFF2-40B4-BE49-F238E27FC236}">
                <a16:creationId xmlns:a16="http://schemas.microsoft.com/office/drawing/2014/main" id="{9405F5B1-8B5A-14D1-B020-A9BF9353F613}"/>
              </a:ext>
            </a:extLst>
          </p:cNvPr>
          <p:cNvSpPr/>
          <p:nvPr userDrawn="1"/>
        </p:nvSpPr>
        <p:spPr>
          <a:xfrm>
            <a:off x="-28575" y="2"/>
            <a:ext cx="10482776" cy="6877046"/>
          </a:xfrm>
          <a:custGeom>
            <a:avLst/>
            <a:gdLst>
              <a:gd name="connsiteX0" fmla="*/ 0 w 10311326"/>
              <a:gd name="connsiteY0" fmla="*/ 0 h 6857996"/>
              <a:gd name="connsiteX1" fmla="*/ 8596826 w 10311326"/>
              <a:gd name="connsiteY1" fmla="*/ 0 h 6857996"/>
              <a:gd name="connsiteX2" fmla="*/ 10311326 w 10311326"/>
              <a:gd name="connsiteY2" fmla="*/ 3428998 h 6857996"/>
              <a:gd name="connsiteX3" fmla="*/ 8596826 w 10311326"/>
              <a:gd name="connsiteY3" fmla="*/ 6857996 h 6857996"/>
              <a:gd name="connsiteX4" fmla="*/ 0 w 10311326"/>
              <a:gd name="connsiteY4" fmla="*/ 6857996 h 6857996"/>
              <a:gd name="connsiteX0" fmla="*/ 0 w 10473251"/>
              <a:gd name="connsiteY0" fmla="*/ 0 h 6867521"/>
              <a:gd name="connsiteX1" fmla="*/ 8758751 w 10473251"/>
              <a:gd name="connsiteY1" fmla="*/ 9525 h 6867521"/>
              <a:gd name="connsiteX2" fmla="*/ 10473251 w 10473251"/>
              <a:gd name="connsiteY2" fmla="*/ 3438523 h 6867521"/>
              <a:gd name="connsiteX3" fmla="*/ 8758751 w 10473251"/>
              <a:gd name="connsiteY3" fmla="*/ 6867521 h 6867521"/>
              <a:gd name="connsiteX4" fmla="*/ 161925 w 10473251"/>
              <a:gd name="connsiteY4" fmla="*/ 6867521 h 6867521"/>
              <a:gd name="connsiteX5" fmla="*/ 0 w 10473251"/>
              <a:gd name="connsiteY5" fmla="*/ 0 h 6867521"/>
              <a:gd name="connsiteX0" fmla="*/ 0 w 10463726"/>
              <a:gd name="connsiteY0" fmla="*/ 9525 h 6857996"/>
              <a:gd name="connsiteX1" fmla="*/ 8749226 w 10463726"/>
              <a:gd name="connsiteY1" fmla="*/ 0 h 6857996"/>
              <a:gd name="connsiteX2" fmla="*/ 10463726 w 10463726"/>
              <a:gd name="connsiteY2" fmla="*/ 3428998 h 6857996"/>
              <a:gd name="connsiteX3" fmla="*/ 8749226 w 10463726"/>
              <a:gd name="connsiteY3" fmla="*/ 6857996 h 6857996"/>
              <a:gd name="connsiteX4" fmla="*/ 152400 w 10463726"/>
              <a:gd name="connsiteY4" fmla="*/ 6857996 h 6857996"/>
              <a:gd name="connsiteX5" fmla="*/ 0 w 10463726"/>
              <a:gd name="connsiteY5" fmla="*/ 9525 h 6857996"/>
              <a:gd name="connsiteX0" fmla="*/ 28575 w 10492301"/>
              <a:gd name="connsiteY0" fmla="*/ 9525 h 6886571"/>
              <a:gd name="connsiteX1" fmla="*/ 8777801 w 10492301"/>
              <a:gd name="connsiteY1" fmla="*/ 0 h 6886571"/>
              <a:gd name="connsiteX2" fmla="*/ 10492301 w 10492301"/>
              <a:gd name="connsiteY2" fmla="*/ 3428998 h 6886571"/>
              <a:gd name="connsiteX3" fmla="*/ 8777801 w 10492301"/>
              <a:gd name="connsiteY3" fmla="*/ 6857996 h 6886571"/>
              <a:gd name="connsiteX4" fmla="*/ 0 w 10492301"/>
              <a:gd name="connsiteY4" fmla="*/ 6886571 h 6886571"/>
              <a:gd name="connsiteX5" fmla="*/ 28575 w 10492301"/>
              <a:gd name="connsiteY5" fmla="*/ 9525 h 6886571"/>
              <a:gd name="connsiteX0" fmla="*/ 19050 w 10482776"/>
              <a:gd name="connsiteY0" fmla="*/ 9525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19050 w 10482776"/>
              <a:gd name="connsiteY5" fmla="*/ 9525 h 6877046"/>
              <a:gd name="connsiteX0" fmla="*/ 19050 w 10482776"/>
              <a:gd name="connsiteY0" fmla="*/ 0 h 6886571"/>
              <a:gd name="connsiteX1" fmla="*/ 8768276 w 10482776"/>
              <a:gd name="connsiteY1" fmla="*/ 9525 h 6886571"/>
              <a:gd name="connsiteX2" fmla="*/ 10482776 w 10482776"/>
              <a:gd name="connsiteY2" fmla="*/ 3438523 h 6886571"/>
              <a:gd name="connsiteX3" fmla="*/ 8768276 w 10482776"/>
              <a:gd name="connsiteY3" fmla="*/ 6867521 h 6886571"/>
              <a:gd name="connsiteX4" fmla="*/ 0 w 10482776"/>
              <a:gd name="connsiteY4" fmla="*/ 6886571 h 6886571"/>
              <a:gd name="connsiteX5" fmla="*/ 19050 w 10482776"/>
              <a:gd name="connsiteY5" fmla="*/ 0 h 6886571"/>
              <a:gd name="connsiteX0" fmla="*/ 9525 w 10482776"/>
              <a:gd name="connsiteY0" fmla="*/ 0 h 6877046"/>
              <a:gd name="connsiteX1" fmla="*/ 8768276 w 10482776"/>
              <a:gd name="connsiteY1" fmla="*/ 0 h 6877046"/>
              <a:gd name="connsiteX2" fmla="*/ 10482776 w 10482776"/>
              <a:gd name="connsiteY2" fmla="*/ 3428998 h 6877046"/>
              <a:gd name="connsiteX3" fmla="*/ 8768276 w 10482776"/>
              <a:gd name="connsiteY3" fmla="*/ 6857996 h 6877046"/>
              <a:gd name="connsiteX4" fmla="*/ 0 w 10482776"/>
              <a:gd name="connsiteY4" fmla="*/ 6877046 h 6877046"/>
              <a:gd name="connsiteX5" fmla="*/ 9525 w 10482776"/>
              <a:gd name="connsiteY5" fmla="*/ 0 h 687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2776" h="6877046">
                <a:moveTo>
                  <a:pt x="9525" y="0"/>
                </a:moveTo>
                <a:lnTo>
                  <a:pt x="8768276" y="0"/>
                </a:lnTo>
                <a:lnTo>
                  <a:pt x="10482776" y="3428998"/>
                </a:lnTo>
                <a:lnTo>
                  <a:pt x="8768276" y="6857996"/>
                </a:lnTo>
                <a:lnTo>
                  <a:pt x="0" y="6877046"/>
                </a:lnTo>
                <a:cubicBezTo>
                  <a:pt x="0" y="4591047"/>
                  <a:pt x="9525" y="2285999"/>
                  <a:pt x="95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300" y="1768476"/>
            <a:ext cx="7239000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98969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-28575" y="0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30952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BE1FE4D2-AAA9-6436-57A6-DDCDCFE0C6AE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BFA1BCA6-F4EF-BACA-6453-8FEF0EA1CEDB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91205704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ängre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4AB23CE-9BB3-9C8D-B811-FEF29A350A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575" y="0"/>
            <a:ext cx="12220575" cy="687705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171E6A0B-1A4B-D956-063C-9FD31F79DDB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 flipH="1" flipV="1">
            <a:off x="5049997" y="2571486"/>
            <a:ext cx="7220108" cy="430556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720000" rIns="91440" bIns="45720" rtlCol="0">
            <a:normAutofit/>
          </a:bodyPr>
          <a:lstStyle>
            <a:lvl1pPr>
              <a:defRPr lang="en-GB" sz="100" dirty="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8319" y="3438525"/>
            <a:ext cx="4849812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Längre</a:t>
            </a:r>
            <a:r>
              <a:rPr lang="en-GB"/>
              <a:t> </a:t>
            </a:r>
            <a:r>
              <a:rPr lang="en-GB" err="1"/>
              <a:t>citat</a:t>
            </a:r>
            <a:endParaRPr lang="en-GB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90DC5D33-9F71-AE40-5EC1-1BA285D7856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1439525" y="221457"/>
            <a:ext cx="557213" cy="483394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7C2562E-3BAF-ED74-3F25-9A0399FE178D}"/>
              </a:ext>
            </a:extLst>
          </p:cNvPr>
          <p:cNvSpPr/>
          <p:nvPr userDrawn="1"/>
        </p:nvSpPr>
        <p:spPr>
          <a:xfrm>
            <a:off x="-1607820" y="0"/>
            <a:ext cx="1501140" cy="18745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sv-SE" sz="1600"/>
              <a:t>För att lägga till bild, gå till ”Infoga”, ”bilder och välj önskad bild</a:t>
            </a:r>
          </a:p>
        </p:txBody>
      </p:sp>
    </p:spTree>
    <p:extLst>
      <p:ext uri="{BB962C8B-B14F-4D97-AF65-F5344CB8AC3E}">
        <p14:creationId xmlns:p14="http://schemas.microsoft.com/office/powerpoint/2010/main" val="3670086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oleObject" Target="../embeddings/oleObject6.bin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11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2.xml"/><Relationship Id="rId27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oleObject" Target="../embeddings/oleObject6.bin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theme" Target="../theme/theme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image" Target="../media/image3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oleObject" Target="../embeddings/oleObject7.bin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tags" Target="../tags/tag25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tags" Target="../tags/tag24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theme" Target="../theme/theme4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image" Target="../media/image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oleObject" Target="../embeddings/oleObject8.bin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tags" Target="../tags/tag32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tags" Target="../tags/tag31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theme" Target="../theme/theme5.xml"/><Relationship Id="rId27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tags" Target="../tags/tag39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tags" Target="../tags/tag38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theme" Target="../theme/theme6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image" Target="../media/image3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38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tags" Target="../tags/tag43.xml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tags" Target="../tags/tag42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theme" Target="../theme/theme8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image" Target="../media/image3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26" Type="http://schemas.openxmlformats.org/officeDocument/2006/relationships/theme" Target="../theme/theme9.xml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29" Type="http://schemas.openxmlformats.org/officeDocument/2006/relationships/oleObject" Target="../embeddings/oleObject9.bin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slideLayout" Target="../slideLayouts/slideLayout192.xml"/><Relationship Id="rId32" Type="http://schemas.openxmlformats.org/officeDocument/2006/relationships/image" Target="../media/image31.svg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28" Type="http://schemas.openxmlformats.org/officeDocument/2006/relationships/tags" Target="../tags/tag47.x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Relationship Id="rId27" Type="http://schemas.openxmlformats.org/officeDocument/2006/relationships/tags" Target="../tags/tag46.xml"/><Relationship Id="rId30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0">
            <a:extLst>
              <a:ext uri="{FF2B5EF4-FFF2-40B4-BE49-F238E27FC236}">
                <a16:creationId xmlns:a16="http://schemas.microsoft.com/office/drawing/2014/main" id="{3AC1C003-6F59-6F9E-D37F-C266E5B561E9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1262A14-C18A-43AD-8174-EA6D5AC8A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05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1262A14-C18A-43AD-8174-EA6D5AC8A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9D2BCF4-8713-4980-86F1-4C71D0C542E6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6738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735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91" r:id="rId2"/>
    <p:sldLayoutId id="2147483853" r:id="rId3"/>
    <p:sldLayoutId id="2147483852" r:id="rId4"/>
    <p:sldLayoutId id="2147483855" r:id="rId5"/>
    <p:sldLayoutId id="2147483652" r:id="rId6"/>
    <p:sldLayoutId id="2147483650" r:id="rId7"/>
    <p:sldLayoutId id="2147483661" r:id="rId8"/>
    <p:sldLayoutId id="2147483851" r:id="rId9"/>
    <p:sldLayoutId id="2147483856" r:id="rId10"/>
    <p:sldLayoutId id="2147483947" r:id="rId11"/>
    <p:sldLayoutId id="2147483935" r:id="rId12"/>
    <p:sldLayoutId id="2147483948" r:id="rId13"/>
    <p:sldLayoutId id="2147483763" r:id="rId14"/>
    <p:sldLayoutId id="2147483909" r:id="rId15"/>
    <p:sldLayoutId id="2147483764" r:id="rId16"/>
    <p:sldLayoutId id="2147483812" r:id="rId17"/>
    <p:sldLayoutId id="2147483750" r:id="rId18"/>
    <p:sldLayoutId id="2147483938" r:id="rId19"/>
    <p:sldLayoutId id="2147483843" r:id="rId20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6788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E9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8B59F1-F599-42EA-B0AF-D694CD556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064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98" imgH="499" progId="TCLayout.ActiveDocument.1">
                  <p:embed/>
                </p:oleObj>
              </mc:Choice>
              <mc:Fallback>
                <p:oleObj name="think-cell Slide" r:id="rId25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58B59F1-F599-42EA-B0AF-D694CD5566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61D218C-849D-494C-AA25-56222077AB86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F4E5F144-FBB5-3BF4-612F-E956FC2AAD8F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84" r:id="rId2"/>
    <p:sldLayoutId id="2147483896" r:id="rId3"/>
    <p:sldLayoutId id="2147483922" r:id="rId4"/>
    <p:sldLayoutId id="2147483931" r:id="rId5"/>
    <p:sldLayoutId id="2147483665" r:id="rId6"/>
    <p:sldLayoutId id="2147483664" r:id="rId7"/>
    <p:sldLayoutId id="2147483863" r:id="rId8"/>
    <p:sldLayoutId id="2147483859" r:id="rId9"/>
    <p:sldLayoutId id="2147483903" r:id="rId10"/>
    <p:sldLayoutId id="2147483955" r:id="rId11"/>
    <p:sldLayoutId id="2147483680" r:id="rId12"/>
    <p:sldLayoutId id="2147483876" r:id="rId13"/>
    <p:sldLayoutId id="2147483949" r:id="rId14"/>
    <p:sldLayoutId id="2147483765" r:id="rId15"/>
    <p:sldLayoutId id="2147483818" r:id="rId16"/>
    <p:sldLayoutId id="2147483766" r:id="rId17"/>
    <p:sldLayoutId id="2147483667" r:id="rId18"/>
    <p:sldLayoutId id="2147483872" r:id="rId19"/>
    <p:sldLayoutId id="2147483940" r:id="rId20"/>
    <p:sldLayoutId id="2147483844" r:id="rId2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6788" userDrawn="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8B59F1-F599-42EA-B0AF-D694CD556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2064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58B59F1-F599-42EA-B0AF-D694CD5566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61D218C-849D-494C-AA25-56222077AB86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EA1B7142-EF6F-D62B-03AE-8E8AC4E3BCC2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021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88" r:id="rId2"/>
    <p:sldLayoutId id="2147483897" r:id="rId3"/>
    <p:sldLayoutId id="2147483923" r:id="rId4"/>
    <p:sldLayoutId id="2147483932" r:id="rId5"/>
    <p:sldLayoutId id="2147483908" r:id="rId6"/>
    <p:sldLayoutId id="2147483865" r:id="rId7"/>
    <p:sldLayoutId id="2147483867" r:id="rId8"/>
    <p:sldLayoutId id="2147483866" r:id="rId9"/>
    <p:sldLayoutId id="2147483905" r:id="rId10"/>
    <p:sldLayoutId id="2147483956" r:id="rId11"/>
    <p:sldLayoutId id="2147483869" r:id="rId12"/>
    <p:sldLayoutId id="2147483877" r:id="rId13"/>
    <p:sldLayoutId id="2147483950" r:id="rId14"/>
    <p:sldLayoutId id="2147483910" r:id="rId15"/>
    <p:sldLayoutId id="2147483911" r:id="rId16"/>
    <p:sldLayoutId id="2147483912" r:id="rId17"/>
    <p:sldLayoutId id="2147483928" r:id="rId18"/>
    <p:sldLayoutId id="2147483873" r:id="rId19"/>
    <p:sldLayoutId id="2147483941" r:id="rId20"/>
    <p:sldLayoutId id="2147483868" r:id="rId21"/>
    <p:sldLayoutId id="2147483959" r:id="rId2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6788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D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55B9FB1-673E-4FA5-AEAD-234B05B54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03040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55B9FB1-673E-4FA5-AEAD-234B05B54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E36DAA-5B8C-4FD8-9ADA-0B562E8D9672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6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D98DB72C-1FCE-4460-8D25-C98D581AA9FD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89" r:id="rId2"/>
    <p:sldLayoutId id="2147483898" r:id="rId3"/>
    <p:sldLayoutId id="2147483924" r:id="rId4"/>
    <p:sldLayoutId id="2147483933" r:id="rId5"/>
    <p:sldLayoutId id="2147483683" r:id="rId6"/>
    <p:sldLayoutId id="2147483861" r:id="rId7"/>
    <p:sldLayoutId id="2147483862" r:id="rId8"/>
    <p:sldLayoutId id="2147483682" r:id="rId9"/>
    <p:sldLayoutId id="2147483906" r:id="rId10"/>
    <p:sldLayoutId id="2147483957" r:id="rId11"/>
    <p:sldLayoutId id="2147483870" r:id="rId12"/>
    <p:sldLayoutId id="2147483878" r:id="rId13"/>
    <p:sldLayoutId id="2147483951" r:id="rId14"/>
    <p:sldLayoutId id="2147483913" r:id="rId15"/>
    <p:sldLayoutId id="2147483914" r:id="rId16"/>
    <p:sldLayoutId id="2147483915" r:id="rId17"/>
    <p:sldLayoutId id="2147483929" r:id="rId18"/>
    <p:sldLayoutId id="2147483874" r:id="rId19"/>
    <p:sldLayoutId id="2147483942" r:id="rId20"/>
    <p:sldLayoutId id="2147483845" r:id="rId21"/>
    <p:sldLayoutId id="2147483960" r:id="rId2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6788" userDrawn="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4A3FDFF-44E2-4DA6-9568-D290BF6D0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15897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98" imgH="499" progId="TCLayout.ActiveDocument.1">
                  <p:embed/>
                </p:oleObj>
              </mc:Choice>
              <mc:Fallback>
                <p:oleObj name="think-cell Slide" r:id="rId25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4A3FDFF-44E2-4DA6-9568-D290BF6D02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8C408F-CA11-4557-97D3-0875DA17FC62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993775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93775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74127" y="6356350"/>
            <a:ext cx="19002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DFC9F31C-020A-4F6B-B5AD-2634ED65740A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8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0" r:id="rId2"/>
    <p:sldLayoutId id="2147483899" r:id="rId3"/>
    <p:sldLayoutId id="2147483925" r:id="rId4"/>
    <p:sldLayoutId id="2147483934" r:id="rId5"/>
    <p:sldLayoutId id="2147483691" r:id="rId6"/>
    <p:sldLayoutId id="2147483690" r:id="rId7"/>
    <p:sldLayoutId id="2147483921" r:id="rId8"/>
    <p:sldLayoutId id="2147483860" r:id="rId9"/>
    <p:sldLayoutId id="2147483907" r:id="rId10"/>
    <p:sldLayoutId id="2147483958" r:id="rId11"/>
    <p:sldLayoutId id="2147483871" r:id="rId12"/>
    <p:sldLayoutId id="2147483879" r:id="rId13"/>
    <p:sldLayoutId id="2147483952" r:id="rId14"/>
    <p:sldLayoutId id="2147483916" r:id="rId15"/>
    <p:sldLayoutId id="2147483917" r:id="rId16"/>
    <p:sldLayoutId id="2147483918" r:id="rId17"/>
    <p:sldLayoutId id="2147483930" r:id="rId18"/>
    <p:sldLayoutId id="2147483875" r:id="rId19"/>
    <p:sldLayoutId id="2147483943" r:id="rId20"/>
    <p:sldLayoutId id="2147483846" r:id="rId2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1D4F78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6788" userDrawn="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80281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755514C-7FB5-4E02-9230-89025535B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34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197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ED147F06-F6F9-854C-0F74-48B5776247A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83" r:id="rId2"/>
    <p:sldLayoutId id="2147483752" r:id="rId3"/>
    <p:sldLayoutId id="2147483784" r:id="rId4"/>
    <p:sldLayoutId id="2147483780" r:id="rId5"/>
    <p:sldLayoutId id="2147483816" r:id="rId6"/>
    <p:sldLayoutId id="2147483833" r:id="rId7"/>
    <p:sldLayoutId id="2147483857" r:id="rId8"/>
    <p:sldLayoutId id="2147483880" r:id="rId9"/>
    <p:sldLayoutId id="2147483953" r:id="rId10"/>
    <p:sldLayoutId id="2147483900" r:id="rId11"/>
    <p:sldLayoutId id="2147483944" r:id="rId12"/>
    <p:sldLayoutId id="2147483926" r:id="rId13"/>
    <p:sldLayoutId id="2147483881" r:id="rId14"/>
    <p:sldLayoutId id="2147483954" r:id="rId15"/>
    <p:sldLayoutId id="2147483858" r:id="rId16"/>
    <p:sldLayoutId id="2147483946" r:id="rId17"/>
    <p:sldLayoutId id="2147483920" r:id="rId18"/>
    <p:sldLayoutId id="2147483927" r:id="rId19"/>
    <p:sldLayoutId id="2147483742" r:id="rId20"/>
    <p:sldLayoutId id="2147483747" r:id="rId21"/>
    <p:sldLayoutId id="2147483847" r:id="rId2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1517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  <p:sldLayoutId id="2147483999" r:id="rId11"/>
    <p:sldLayoutId id="2147484000" r:id="rId12"/>
    <p:sldLayoutId id="2147484001" r:id="rId13"/>
    <p:sldLayoutId id="2147484002" r:id="rId14"/>
    <p:sldLayoutId id="2147484003" r:id="rId15"/>
    <p:sldLayoutId id="2147484004" r:id="rId16"/>
    <p:sldLayoutId id="2147484005" r:id="rId17"/>
    <p:sldLayoutId id="2147484006" r:id="rId18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80281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755514C-7FB5-4E02-9230-89025535B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34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197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ED147F06-F6F9-854C-0F74-48B5776247A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885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  <p:sldLayoutId id="2147484019" r:id="rId12"/>
    <p:sldLayoutId id="2147484020" r:id="rId13"/>
    <p:sldLayoutId id="2147484021" r:id="rId14"/>
    <p:sldLayoutId id="2147484022" r:id="rId15"/>
    <p:sldLayoutId id="2147484023" r:id="rId16"/>
    <p:sldLayoutId id="2147484024" r:id="rId17"/>
    <p:sldLayoutId id="2147484025" r:id="rId18"/>
    <p:sldLayoutId id="2147484026" r:id="rId19"/>
    <p:sldLayoutId id="2147484027" r:id="rId20"/>
    <p:sldLayoutId id="2147484028" r:id="rId21"/>
    <p:sldLayoutId id="2147484029" r:id="rId2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0281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98" imgH="499" progId="TCLayout.ActiveDocument.1">
                  <p:embed/>
                </p:oleObj>
              </mc:Choice>
              <mc:Fallback>
                <p:oleObj name="think-cell Slide" r:id="rId29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755514C-7FB5-4E02-9230-89025535B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34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40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2/02/2026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51975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ED147F06-F6F9-854C-0F74-48B5776247AE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70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  <p:sldLayoutId id="2147484043" r:id="rId13"/>
    <p:sldLayoutId id="2147484044" r:id="rId14"/>
    <p:sldLayoutId id="2147484045" r:id="rId15"/>
    <p:sldLayoutId id="2147484046" r:id="rId16"/>
    <p:sldLayoutId id="2147484047" r:id="rId17"/>
    <p:sldLayoutId id="2147484048" r:id="rId18"/>
    <p:sldLayoutId id="2147484049" r:id="rId19"/>
    <p:sldLayoutId id="2147484050" r:id="rId20"/>
    <p:sldLayoutId id="2147484051" r:id="rId21"/>
    <p:sldLayoutId id="2147484052" r:id="rId22"/>
    <p:sldLayoutId id="2147484053" r:id="rId23"/>
    <p:sldLayoutId id="2147484054" r:id="rId24"/>
    <p:sldLayoutId id="2147484055" r:id="rId25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8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9.xml"/><Relationship Id="rId5" Type="http://schemas.openxmlformats.org/officeDocument/2006/relationships/image" Target="../media/image31.svg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12" Type="http://schemas.openxmlformats.org/officeDocument/2006/relationships/image" Target="../media/image50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9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latshållare för bild 14" descr="En bild som visar Flygfotografi, vatten, utomhus, byggnad&#10;&#10;AI-genererat innehåll kan vara felaktigt.">
            <a:extLst>
              <a:ext uri="{FF2B5EF4-FFF2-40B4-BE49-F238E27FC236}">
                <a16:creationId xmlns:a16="http://schemas.microsoft.com/office/drawing/2014/main" id="{494A025B-0D99-A54F-DBF9-CF23C4A6806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4" name="Rubrik 3">
            <a:extLst>
              <a:ext uri="{FF2B5EF4-FFF2-40B4-BE49-F238E27FC236}">
                <a16:creationId xmlns:a16="http://schemas.microsoft.com/office/drawing/2014/main" id="{AEA796D8-3A8C-A22A-E328-A5AB7D870F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6096" y="3812093"/>
            <a:ext cx="7762996" cy="1655762"/>
          </a:xfrm>
        </p:spPr>
        <p:txBody>
          <a:bodyPr/>
          <a:lstStyle/>
          <a:p>
            <a:r>
              <a:rPr lang="sv-SE" sz="4000"/>
              <a:t>Göteborgs Stads näringslivsstrategiska program</a:t>
            </a:r>
          </a:p>
        </p:txBody>
      </p:sp>
      <p:sp>
        <p:nvSpPr>
          <p:cNvPr id="19" name="Underrubrik 18">
            <a:extLst>
              <a:ext uri="{FF2B5EF4-FFF2-40B4-BE49-F238E27FC236}">
                <a16:creationId xmlns:a16="http://schemas.microsoft.com/office/drawing/2014/main" id="{4AD9E384-85CE-FA34-8878-ABC88D1BC83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/>
              <a:t>Styrelsen för BRG 2 mars 2026</a:t>
            </a:r>
          </a:p>
        </p:txBody>
      </p:sp>
    </p:spTree>
    <p:extLst>
      <p:ext uri="{BB962C8B-B14F-4D97-AF65-F5344CB8AC3E}">
        <p14:creationId xmlns:p14="http://schemas.microsoft.com/office/powerpoint/2010/main" val="30193186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28236D-40A3-7E4D-D604-566F5A384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AA2C8A-BA07-DE1F-31EC-7AA5F13AF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3. Revidering 2026-27</a:t>
            </a:r>
          </a:p>
        </p:txBody>
      </p:sp>
    </p:spTree>
    <p:extLst>
      <p:ext uri="{BB962C8B-B14F-4D97-AF65-F5344CB8AC3E}">
        <p14:creationId xmlns:p14="http://schemas.microsoft.com/office/powerpoint/2010/main" val="34288950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68BA77E5-57F9-02C9-1B61-334326FA25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Revideringsprocess 2026-27</a:t>
            </a:r>
          </a:p>
        </p:txBody>
      </p:sp>
      <p:cxnSp>
        <p:nvCxnSpPr>
          <p:cNvPr id="10" name="Rak koppling 9">
            <a:extLst>
              <a:ext uri="{FF2B5EF4-FFF2-40B4-BE49-F238E27FC236}">
                <a16:creationId xmlns:a16="http://schemas.microsoft.com/office/drawing/2014/main" id="{F45AD1C0-B2E7-BA15-E4CE-1807C9249FB7}"/>
              </a:ext>
            </a:extLst>
          </p:cNvPr>
          <p:cNvCxnSpPr>
            <a:cxnSpLocks/>
            <a:stCxn id="33" idx="2"/>
            <a:endCxn id="32" idx="3"/>
          </p:cNvCxnSpPr>
          <p:nvPr/>
        </p:nvCxnSpPr>
        <p:spPr>
          <a:xfrm>
            <a:off x="639587" y="2630711"/>
            <a:ext cx="9604" cy="190742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Bildtext 1 61">
            <a:extLst>
              <a:ext uri="{FF2B5EF4-FFF2-40B4-BE49-F238E27FC236}">
                <a16:creationId xmlns:a16="http://schemas.microsoft.com/office/drawing/2014/main" id="{B63A39A8-743B-A993-57C1-8196AEB87C15}"/>
              </a:ext>
            </a:extLst>
          </p:cNvPr>
          <p:cNvSpPr/>
          <p:nvPr/>
        </p:nvSpPr>
        <p:spPr>
          <a:xfrm>
            <a:off x="8492266" y="4004176"/>
            <a:ext cx="1015739" cy="432000"/>
          </a:xfrm>
          <a:prstGeom prst="borderCallout1">
            <a:avLst>
              <a:gd name="adj1" fmla="val -3978"/>
              <a:gd name="adj2" fmla="val 64591"/>
              <a:gd name="adj3" fmla="val -226225"/>
              <a:gd name="adj4" fmla="val 62435"/>
            </a:avLst>
          </a:prstGeom>
          <a:solidFill>
            <a:srgbClr val="D3624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S Behandling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F871DE1E-0287-41BE-D93D-13059FBCB53D}"/>
              </a:ext>
            </a:extLst>
          </p:cNvPr>
          <p:cNvSpPr txBox="1"/>
          <p:nvPr/>
        </p:nvSpPr>
        <p:spPr>
          <a:xfrm>
            <a:off x="220100" y="2762343"/>
            <a:ext cx="19028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upp 12">
            <a:extLst>
              <a:ext uri="{FF2B5EF4-FFF2-40B4-BE49-F238E27FC236}">
                <a16:creationId xmlns:a16="http://schemas.microsoft.com/office/drawing/2014/main" id="{0CEF6294-624F-FD3F-6037-DBD1B37BE384}"/>
              </a:ext>
            </a:extLst>
          </p:cNvPr>
          <p:cNvGrpSpPr/>
          <p:nvPr/>
        </p:nvGrpSpPr>
        <p:grpSpPr>
          <a:xfrm>
            <a:off x="1811351" y="3280777"/>
            <a:ext cx="1850014" cy="702904"/>
            <a:chOff x="3722247" y="2357271"/>
            <a:chExt cx="1881393" cy="702904"/>
          </a:xfrm>
        </p:grpSpPr>
        <p:sp>
          <p:nvSpPr>
            <p:cNvPr id="14" name="Högerpil 113">
              <a:extLst>
                <a:ext uri="{FF2B5EF4-FFF2-40B4-BE49-F238E27FC236}">
                  <a16:creationId xmlns:a16="http://schemas.microsoft.com/office/drawing/2014/main" id="{A6B9B4D0-D221-E18F-1F7C-4E9D98777A9E}"/>
                </a:ext>
              </a:extLst>
            </p:cNvPr>
            <p:cNvSpPr/>
            <p:nvPr/>
          </p:nvSpPr>
          <p:spPr>
            <a:xfrm>
              <a:off x="3722249" y="2357271"/>
              <a:ext cx="1881391" cy="702904"/>
            </a:xfrm>
            <a:prstGeom prst="rightArrow">
              <a:avLst/>
            </a:prstGeom>
            <a:solidFill>
              <a:srgbClr val="EEC7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textruta 14">
              <a:extLst>
                <a:ext uri="{FF2B5EF4-FFF2-40B4-BE49-F238E27FC236}">
                  <a16:creationId xmlns:a16="http://schemas.microsoft.com/office/drawing/2014/main" id="{9E148C74-8AA3-B61F-A549-699CE13B55FB}"/>
                </a:ext>
              </a:extLst>
            </p:cNvPr>
            <p:cNvSpPr txBox="1"/>
            <p:nvPr/>
          </p:nvSpPr>
          <p:spPr>
            <a:xfrm>
              <a:off x="3722247" y="2530344"/>
              <a:ext cx="188139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S 1 strategiskt område</a:t>
              </a:r>
            </a:p>
          </p:txBody>
        </p:sp>
      </p:grpSp>
      <p:sp>
        <p:nvSpPr>
          <p:cNvPr id="17" name="Högerpil 111">
            <a:extLst>
              <a:ext uri="{FF2B5EF4-FFF2-40B4-BE49-F238E27FC236}">
                <a16:creationId xmlns:a16="http://schemas.microsoft.com/office/drawing/2014/main" id="{ABBC32AC-C322-AAF6-B4DD-65B757DF151C}"/>
              </a:ext>
            </a:extLst>
          </p:cNvPr>
          <p:cNvSpPr/>
          <p:nvPr/>
        </p:nvSpPr>
        <p:spPr>
          <a:xfrm>
            <a:off x="6637110" y="4896992"/>
            <a:ext cx="1285537" cy="834087"/>
          </a:xfrm>
          <a:prstGeom prst="right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ruta 17">
            <a:extLst>
              <a:ext uri="{FF2B5EF4-FFF2-40B4-BE49-F238E27FC236}">
                <a16:creationId xmlns:a16="http://schemas.microsoft.com/office/drawing/2014/main" id="{2B6D518F-1019-59ED-866C-60AA76DB8997}"/>
              </a:ext>
            </a:extLst>
          </p:cNvPr>
          <p:cNvSpPr txBox="1"/>
          <p:nvPr/>
        </p:nvSpPr>
        <p:spPr>
          <a:xfrm>
            <a:off x="6613328" y="5168485"/>
            <a:ext cx="12401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alog gr/</a:t>
            </a:r>
            <a:r>
              <a:rPr kumimoji="0" lang="sv-SE" sz="1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gr</a:t>
            </a: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Bildtext 1 66">
            <a:extLst>
              <a:ext uri="{FF2B5EF4-FFF2-40B4-BE49-F238E27FC236}">
                <a16:creationId xmlns:a16="http://schemas.microsoft.com/office/drawing/2014/main" id="{DE02C95C-F199-186A-0025-AB2872174BD1}"/>
              </a:ext>
            </a:extLst>
          </p:cNvPr>
          <p:cNvSpPr/>
          <p:nvPr/>
        </p:nvSpPr>
        <p:spPr>
          <a:xfrm>
            <a:off x="879498" y="3998853"/>
            <a:ext cx="826263" cy="415537"/>
          </a:xfrm>
          <a:prstGeom prst="borderCallout1">
            <a:avLst>
              <a:gd name="adj1" fmla="val -8307"/>
              <a:gd name="adj2" fmla="val 48933"/>
              <a:gd name="adj3" fmla="val -264987"/>
              <a:gd name="adj4" fmla="val 48629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000" b="1">
                <a:solidFill>
                  <a:prstClr val="white"/>
                </a:solidFill>
                <a:latin typeface="Arial"/>
              </a:rPr>
              <a:t>13</a:t>
            </a: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pril stormöte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Högerpil 96">
            <a:extLst>
              <a:ext uri="{FF2B5EF4-FFF2-40B4-BE49-F238E27FC236}">
                <a16:creationId xmlns:a16="http://schemas.microsoft.com/office/drawing/2014/main" id="{1BD02001-5062-DB2B-6F17-8259B0358D68}"/>
              </a:ext>
            </a:extLst>
          </p:cNvPr>
          <p:cNvSpPr/>
          <p:nvPr/>
        </p:nvSpPr>
        <p:spPr>
          <a:xfrm>
            <a:off x="5829719" y="3033127"/>
            <a:ext cx="1285535" cy="1228286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56FA8480-53EC-4DF5-AA72-C9F0AD2EC748}"/>
              </a:ext>
            </a:extLst>
          </p:cNvPr>
          <p:cNvSpPr txBox="1"/>
          <p:nvPr/>
        </p:nvSpPr>
        <p:spPr>
          <a:xfrm>
            <a:off x="5848666" y="3489542"/>
            <a:ext cx="9883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vstämning </a:t>
            </a:r>
            <a:r>
              <a:rPr kumimoji="0" lang="sv-SE" sz="10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ferensorg</a:t>
            </a: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Romb 22">
            <a:extLst>
              <a:ext uri="{FF2B5EF4-FFF2-40B4-BE49-F238E27FC236}">
                <a16:creationId xmlns:a16="http://schemas.microsoft.com/office/drawing/2014/main" id="{72588431-80EC-F3D9-49F3-16547C28DF74}"/>
              </a:ext>
            </a:extLst>
          </p:cNvPr>
          <p:cNvSpPr/>
          <p:nvPr/>
        </p:nvSpPr>
        <p:spPr>
          <a:xfrm>
            <a:off x="1204151" y="2322598"/>
            <a:ext cx="275459" cy="308113"/>
          </a:xfrm>
          <a:prstGeom prst="diamond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4" name="Rak koppling 23">
            <a:extLst>
              <a:ext uri="{FF2B5EF4-FFF2-40B4-BE49-F238E27FC236}">
                <a16:creationId xmlns:a16="http://schemas.microsoft.com/office/drawing/2014/main" id="{85A8D6A0-7FBD-30B8-B919-C8ECD9EA70D2}"/>
              </a:ext>
            </a:extLst>
          </p:cNvPr>
          <p:cNvCxnSpPr>
            <a:cxnSpLocks/>
            <a:stCxn id="23" idx="2"/>
          </p:cNvCxnSpPr>
          <p:nvPr/>
        </p:nvCxnSpPr>
        <p:spPr>
          <a:xfrm>
            <a:off x="1341881" y="2630711"/>
            <a:ext cx="0" cy="1366744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" name="Romb 24">
            <a:extLst>
              <a:ext uri="{FF2B5EF4-FFF2-40B4-BE49-F238E27FC236}">
                <a16:creationId xmlns:a16="http://schemas.microsoft.com/office/drawing/2014/main" id="{2C36B9FC-F2E5-CBB2-26D5-8F0229572073}"/>
              </a:ext>
            </a:extLst>
          </p:cNvPr>
          <p:cNvSpPr/>
          <p:nvPr/>
        </p:nvSpPr>
        <p:spPr>
          <a:xfrm>
            <a:off x="8840555" y="2322598"/>
            <a:ext cx="275459" cy="308113"/>
          </a:xfrm>
          <a:prstGeom prst="diamond">
            <a:avLst/>
          </a:prstGeom>
          <a:solidFill>
            <a:srgbClr val="D362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6" name="Rak koppling 25">
            <a:extLst>
              <a:ext uri="{FF2B5EF4-FFF2-40B4-BE49-F238E27FC236}">
                <a16:creationId xmlns:a16="http://schemas.microsoft.com/office/drawing/2014/main" id="{1ED32F53-DE68-AD0E-1A61-8C7840D5E480}"/>
              </a:ext>
            </a:extLst>
          </p:cNvPr>
          <p:cNvCxnSpPr>
            <a:cxnSpLocks/>
            <a:stCxn id="25" idx="2"/>
            <a:endCxn id="11" idx="3"/>
          </p:cNvCxnSpPr>
          <p:nvPr/>
        </p:nvCxnSpPr>
        <p:spPr>
          <a:xfrm>
            <a:off x="8978285" y="2630711"/>
            <a:ext cx="0" cy="137346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9" name="Högerpil 107">
            <a:extLst>
              <a:ext uri="{FF2B5EF4-FFF2-40B4-BE49-F238E27FC236}">
                <a16:creationId xmlns:a16="http://schemas.microsoft.com/office/drawing/2014/main" id="{AFE68386-B681-EBCC-3C6B-8A30904437FC}"/>
              </a:ext>
            </a:extLst>
          </p:cNvPr>
          <p:cNvSpPr/>
          <p:nvPr/>
        </p:nvSpPr>
        <p:spPr>
          <a:xfrm>
            <a:off x="5833358" y="3889652"/>
            <a:ext cx="1040076" cy="1208683"/>
          </a:xfrm>
          <a:prstGeom prst="rightArrow">
            <a:avLst/>
          </a:prstGeom>
          <a:solidFill>
            <a:srgbClr val="EEC7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BEB16267-4AE0-079A-F6C2-92C60304A24F}"/>
              </a:ext>
            </a:extLst>
          </p:cNvPr>
          <p:cNvSpPr txBox="1"/>
          <p:nvPr/>
        </p:nvSpPr>
        <p:spPr>
          <a:xfrm>
            <a:off x="5866878" y="4241917"/>
            <a:ext cx="9324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S 2 strategiska områden</a:t>
            </a:r>
          </a:p>
        </p:txBody>
      </p:sp>
      <p:graphicFrame>
        <p:nvGraphicFramePr>
          <p:cNvPr id="31" name="Tabell 5">
            <a:extLst>
              <a:ext uri="{FF2B5EF4-FFF2-40B4-BE49-F238E27FC236}">
                <a16:creationId xmlns:a16="http://schemas.microsoft.com/office/drawing/2014/main" id="{F6587BF9-4278-FA65-6F92-CE7FC0BE4F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024509"/>
              </p:ext>
            </p:extLst>
          </p:nvPr>
        </p:nvGraphicFramePr>
        <p:xfrm>
          <a:off x="205762" y="1969627"/>
          <a:ext cx="1178047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5365">
                  <a:extLst>
                    <a:ext uri="{9D8B030D-6E8A-4147-A177-3AD203B41FA5}">
                      <a16:colId xmlns:a16="http://schemas.microsoft.com/office/drawing/2014/main" val="180157188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908836882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1045286706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581865399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874308900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848985135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551316771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579990208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612111300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190107901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2027853404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2118195180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3336211901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1296832730"/>
                    </a:ext>
                  </a:extLst>
                </a:gridCol>
                <a:gridCol w="785365">
                  <a:extLst>
                    <a:ext uri="{9D8B030D-6E8A-4147-A177-3AD203B41FA5}">
                      <a16:colId xmlns:a16="http://schemas.microsoft.com/office/drawing/2014/main" val="9988878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Ma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Maj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Juni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Juli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Ok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Nov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Dec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Ja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Feb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Ma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solidFill>
                            <a:schemeClr val="bg1"/>
                          </a:solidFill>
                        </a:rPr>
                        <a:t>Maj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281567"/>
                  </a:ext>
                </a:extLst>
              </a:tr>
            </a:tbl>
          </a:graphicData>
        </a:graphic>
      </p:graphicFrame>
      <p:sp>
        <p:nvSpPr>
          <p:cNvPr id="32" name="Bildtext 1 66">
            <a:extLst>
              <a:ext uri="{FF2B5EF4-FFF2-40B4-BE49-F238E27FC236}">
                <a16:creationId xmlns:a16="http://schemas.microsoft.com/office/drawing/2014/main" id="{B93D7BE3-60EE-DEF7-AF64-8797D9C78092}"/>
              </a:ext>
            </a:extLst>
          </p:cNvPr>
          <p:cNvSpPr/>
          <p:nvPr/>
        </p:nvSpPr>
        <p:spPr>
          <a:xfrm>
            <a:off x="283699" y="4538133"/>
            <a:ext cx="730983" cy="415536"/>
          </a:xfrm>
          <a:prstGeom prst="borderCallout1">
            <a:avLst>
              <a:gd name="adj1" fmla="val -8307"/>
              <a:gd name="adj2" fmla="val 48933"/>
              <a:gd name="adj3" fmla="val -264987"/>
              <a:gd name="adj4" fmla="val 48629"/>
            </a:avLst>
          </a:prstGeom>
          <a:solidFill>
            <a:srgbClr val="D36248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G styrelse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sv-SE" sz="1000" b="1">
                <a:solidFill>
                  <a:prstClr val="white"/>
                </a:solidFill>
                <a:latin typeface="Arial"/>
              </a:rPr>
              <a:t>2 mars</a:t>
            </a: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omb 32">
            <a:extLst>
              <a:ext uri="{FF2B5EF4-FFF2-40B4-BE49-F238E27FC236}">
                <a16:creationId xmlns:a16="http://schemas.microsoft.com/office/drawing/2014/main" id="{953FC70C-483F-9283-474C-2B3D776A7C73}"/>
              </a:ext>
            </a:extLst>
          </p:cNvPr>
          <p:cNvSpPr/>
          <p:nvPr/>
        </p:nvSpPr>
        <p:spPr>
          <a:xfrm>
            <a:off x="501857" y="2322598"/>
            <a:ext cx="275459" cy="308113"/>
          </a:xfrm>
          <a:prstGeom prst="diamond">
            <a:avLst/>
          </a:prstGeom>
          <a:solidFill>
            <a:srgbClr val="D362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Bildtext 1 66">
            <a:extLst>
              <a:ext uri="{FF2B5EF4-FFF2-40B4-BE49-F238E27FC236}">
                <a16:creationId xmlns:a16="http://schemas.microsoft.com/office/drawing/2014/main" id="{64C56E73-A970-1DBE-1AB8-A9245038851E}"/>
              </a:ext>
            </a:extLst>
          </p:cNvPr>
          <p:cNvSpPr/>
          <p:nvPr/>
        </p:nvSpPr>
        <p:spPr>
          <a:xfrm>
            <a:off x="7408836" y="3998853"/>
            <a:ext cx="1016075" cy="437323"/>
          </a:xfrm>
          <a:prstGeom prst="borderCallout1">
            <a:avLst>
              <a:gd name="adj1" fmla="val -8307"/>
              <a:gd name="adj2" fmla="val 48933"/>
              <a:gd name="adj3" fmla="val -264987"/>
              <a:gd name="adj4" fmla="val 48629"/>
            </a:avLst>
          </a:prstGeom>
          <a:solidFill>
            <a:srgbClr val="D36248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G styrelse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 dec</a:t>
            </a:r>
          </a:p>
        </p:txBody>
      </p:sp>
      <p:sp>
        <p:nvSpPr>
          <p:cNvPr id="35" name="Romb 34">
            <a:extLst>
              <a:ext uri="{FF2B5EF4-FFF2-40B4-BE49-F238E27FC236}">
                <a16:creationId xmlns:a16="http://schemas.microsoft.com/office/drawing/2014/main" id="{FCD5F43F-80CF-8AE1-4747-EDDB57BF7CE5}"/>
              </a:ext>
            </a:extLst>
          </p:cNvPr>
          <p:cNvSpPr/>
          <p:nvPr/>
        </p:nvSpPr>
        <p:spPr>
          <a:xfrm>
            <a:off x="7768106" y="2322598"/>
            <a:ext cx="275459" cy="308113"/>
          </a:xfrm>
          <a:prstGeom prst="diamond">
            <a:avLst/>
          </a:prstGeom>
          <a:solidFill>
            <a:srgbClr val="D362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6" name="Rak koppling 35">
            <a:extLst>
              <a:ext uri="{FF2B5EF4-FFF2-40B4-BE49-F238E27FC236}">
                <a16:creationId xmlns:a16="http://schemas.microsoft.com/office/drawing/2014/main" id="{950E52CE-30FA-36C1-0E6A-F2B944C560EF}"/>
              </a:ext>
            </a:extLst>
          </p:cNvPr>
          <p:cNvCxnSpPr>
            <a:cxnSpLocks/>
            <a:stCxn id="35" idx="2"/>
            <a:endCxn id="34" idx="3"/>
          </p:cNvCxnSpPr>
          <p:nvPr/>
        </p:nvCxnSpPr>
        <p:spPr>
          <a:xfrm>
            <a:off x="7905836" y="2630711"/>
            <a:ext cx="0" cy="136814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37" name="Grupp 36">
            <a:extLst>
              <a:ext uri="{FF2B5EF4-FFF2-40B4-BE49-F238E27FC236}">
                <a16:creationId xmlns:a16="http://schemas.microsoft.com/office/drawing/2014/main" id="{AA53774D-6AF0-B020-4590-4AC49093E2D9}"/>
              </a:ext>
            </a:extLst>
          </p:cNvPr>
          <p:cNvGrpSpPr/>
          <p:nvPr/>
        </p:nvGrpSpPr>
        <p:grpSpPr>
          <a:xfrm>
            <a:off x="3649676" y="3299827"/>
            <a:ext cx="1850014" cy="702904"/>
            <a:chOff x="3722247" y="2357271"/>
            <a:chExt cx="1881393" cy="702904"/>
          </a:xfrm>
        </p:grpSpPr>
        <p:sp>
          <p:nvSpPr>
            <p:cNvPr id="38" name="Högerpil 113">
              <a:extLst>
                <a:ext uri="{FF2B5EF4-FFF2-40B4-BE49-F238E27FC236}">
                  <a16:creationId xmlns:a16="http://schemas.microsoft.com/office/drawing/2014/main" id="{9B877565-9D2F-67EC-5F6D-29AC0F8BF150}"/>
                </a:ext>
              </a:extLst>
            </p:cNvPr>
            <p:cNvSpPr/>
            <p:nvPr/>
          </p:nvSpPr>
          <p:spPr>
            <a:xfrm>
              <a:off x="3722249" y="2357271"/>
              <a:ext cx="1881391" cy="702904"/>
            </a:xfrm>
            <a:prstGeom prst="rightArrow">
              <a:avLst/>
            </a:prstGeom>
            <a:solidFill>
              <a:srgbClr val="EEC7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textruta 38">
              <a:extLst>
                <a:ext uri="{FF2B5EF4-FFF2-40B4-BE49-F238E27FC236}">
                  <a16:creationId xmlns:a16="http://schemas.microsoft.com/office/drawing/2014/main" id="{B9522675-5468-87BE-30DA-79F31DD341C2}"/>
                </a:ext>
              </a:extLst>
            </p:cNvPr>
            <p:cNvSpPr txBox="1"/>
            <p:nvPr/>
          </p:nvSpPr>
          <p:spPr>
            <a:xfrm>
              <a:off x="3722247" y="2530344"/>
              <a:ext cx="188139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krivarbete</a:t>
              </a:r>
            </a:p>
          </p:txBody>
        </p:sp>
      </p:grpSp>
      <p:sp>
        <p:nvSpPr>
          <p:cNvPr id="40" name="Bildtext 1 66">
            <a:extLst>
              <a:ext uri="{FF2B5EF4-FFF2-40B4-BE49-F238E27FC236}">
                <a16:creationId xmlns:a16="http://schemas.microsoft.com/office/drawing/2014/main" id="{8AA12D66-3F3A-6D23-435E-FA71C442EC6E}"/>
              </a:ext>
            </a:extLst>
          </p:cNvPr>
          <p:cNvSpPr/>
          <p:nvPr/>
        </p:nvSpPr>
        <p:spPr>
          <a:xfrm>
            <a:off x="10297585" y="3998853"/>
            <a:ext cx="776222" cy="437323"/>
          </a:xfrm>
          <a:prstGeom prst="borderCallout1">
            <a:avLst>
              <a:gd name="adj1" fmla="val -8307"/>
              <a:gd name="adj2" fmla="val 48933"/>
              <a:gd name="adj3" fmla="val -264987"/>
              <a:gd name="adj4" fmla="val 48629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möte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omb 40">
            <a:extLst>
              <a:ext uri="{FF2B5EF4-FFF2-40B4-BE49-F238E27FC236}">
                <a16:creationId xmlns:a16="http://schemas.microsoft.com/office/drawing/2014/main" id="{88B548F2-649C-717B-49E8-87726F4FCBAC}"/>
              </a:ext>
            </a:extLst>
          </p:cNvPr>
          <p:cNvSpPr/>
          <p:nvPr/>
        </p:nvSpPr>
        <p:spPr>
          <a:xfrm>
            <a:off x="10548174" y="2322598"/>
            <a:ext cx="275459" cy="308113"/>
          </a:xfrm>
          <a:prstGeom prst="diamond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2" name="Rak koppling 41">
            <a:extLst>
              <a:ext uri="{FF2B5EF4-FFF2-40B4-BE49-F238E27FC236}">
                <a16:creationId xmlns:a16="http://schemas.microsoft.com/office/drawing/2014/main" id="{4F3FCF5C-1959-828D-609C-42CB77DD23DF}"/>
              </a:ext>
            </a:extLst>
          </p:cNvPr>
          <p:cNvCxnSpPr>
            <a:cxnSpLocks/>
            <a:stCxn id="41" idx="2"/>
            <a:endCxn id="40" idx="3"/>
          </p:cNvCxnSpPr>
          <p:nvPr/>
        </p:nvCxnSpPr>
        <p:spPr>
          <a:xfrm flipH="1">
            <a:off x="10685696" y="2630711"/>
            <a:ext cx="208" cy="1368142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3" name="Bildtext 1 66">
            <a:extLst>
              <a:ext uri="{FF2B5EF4-FFF2-40B4-BE49-F238E27FC236}">
                <a16:creationId xmlns:a16="http://schemas.microsoft.com/office/drawing/2014/main" id="{27791986-34A0-F46F-E2CE-44B3654C4772}"/>
              </a:ext>
            </a:extLst>
          </p:cNvPr>
          <p:cNvSpPr/>
          <p:nvPr/>
        </p:nvSpPr>
        <p:spPr>
          <a:xfrm>
            <a:off x="1435722" y="2662288"/>
            <a:ext cx="786263" cy="385699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derings</a:t>
            </a:r>
            <a:b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omb 43">
            <a:extLst>
              <a:ext uri="{FF2B5EF4-FFF2-40B4-BE49-F238E27FC236}">
                <a16:creationId xmlns:a16="http://schemas.microsoft.com/office/drawing/2014/main" id="{8FECA57D-AD04-E29C-8579-20CFF1EC4201}"/>
              </a:ext>
            </a:extLst>
          </p:cNvPr>
          <p:cNvSpPr/>
          <p:nvPr/>
        </p:nvSpPr>
        <p:spPr>
          <a:xfrm>
            <a:off x="1705761" y="2322598"/>
            <a:ext cx="286434" cy="343904"/>
          </a:xfrm>
          <a:prstGeom prst="diamond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Bildtext 1 66">
            <a:extLst>
              <a:ext uri="{FF2B5EF4-FFF2-40B4-BE49-F238E27FC236}">
                <a16:creationId xmlns:a16="http://schemas.microsoft.com/office/drawing/2014/main" id="{4E52C714-A676-C5C0-93EE-6FDEE45FD2D5}"/>
              </a:ext>
            </a:extLst>
          </p:cNvPr>
          <p:cNvSpPr/>
          <p:nvPr/>
        </p:nvSpPr>
        <p:spPr>
          <a:xfrm>
            <a:off x="6623688" y="2662288"/>
            <a:ext cx="793216" cy="370839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deringsgrupp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omb 45">
            <a:extLst>
              <a:ext uri="{FF2B5EF4-FFF2-40B4-BE49-F238E27FC236}">
                <a16:creationId xmlns:a16="http://schemas.microsoft.com/office/drawing/2014/main" id="{552A4260-93C9-D5C5-5C4B-EFBBC752F6AA}"/>
              </a:ext>
            </a:extLst>
          </p:cNvPr>
          <p:cNvSpPr/>
          <p:nvPr/>
        </p:nvSpPr>
        <p:spPr>
          <a:xfrm>
            <a:off x="6838098" y="2322598"/>
            <a:ext cx="286434" cy="343904"/>
          </a:xfrm>
          <a:prstGeom prst="diamond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Bildtext 1 66">
            <a:extLst>
              <a:ext uri="{FF2B5EF4-FFF2-40B4-BE49-F238E27FC236}">
                <a16:creationId xmlns:a16="http://schemas.microsoft.com/office/drawing/2014/main" id="{77EA09AA-F8AC-8875-18E6-29FD03E1E4DD}"/>
              </a:ext>
            </a:extLst>
          </p:cNvPr>
          <p:cNvSpPr/>
          <p:nvPr/>
        </p:nvSpPr>
        <p:spPr>
          <a:xfrm>
            <a:off x="4813149" y="2683069"/>
            <a:ext cx="786263" cy="385699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derings</a:t>
            </a:r>
            <a:b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omb 47">
            <a:extLst>
              <a:ext uri="{FF2B5EF4-FFF2-40B4-BE49-F238E27FC236}">
                <a16:creationId xmlns:a16="http://schemas.microsoft.com/office/drawing/2014/main" id="{8CD39D5A-DEFB-13DF-1BA2-3DF9EEEABFC0}"/>
              </a:ext>
            </a:extLst>
          </p:cNvPr>
          <p:cNvSpPr/>
          <p:nvPr/>
        </p:nvSpPr>
        <p:spPr>
          <a:xfrm>
            <a:off x="5083188" y="2343379"/>
            <a:ext cx="286434" cy="343904"/>
          </a:xfrm>
          <a:prstGeom prst="diamond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Bildtext 1 66">
            <a:extLst>
              <a:ext uri="{FF2B5EF4-FFF2-40B4-BE49-F238E27FC236}">
                <a16:creationId xmlns:a16="http://schemas.microsoft.com/office/drawing/2014/main" id="{96CE6536-42EB-913C-D97B-A03752E1ADD0}"/>
              </a:ext>
            </a:extLst>
          </p:cNvPr>
          <p:cNvSpPr/>
          <p:nvPr/>
        </p:nvSpPr>
        <p:spPr>
          <a:xfrm>
            <a:off x="-10207" y="2678855"/>
            <a:ext cx="812685" cy="418671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derings</a:t>
            </a:r>
            <a:b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omb 2">
            <a:extLst>
              <a:ext uri="{FF2B5EF4-FFF2-40B4-BE49-F238E27FC236}">
                <a16:creationId xmlns:a16="http://schemas.microsoft.com/office/drawing/2014/main" id="{8FE2EC34-48D0-0A19-06DC-1FD225337CEC}"/>
              </a:ext>
            </a:extLst>
          </p:cNvPr>
          <p:cNvSpPr/>
          <p:nvPr/>
        </p:nvSpPr>
        <p:spPr>
          <a:xfrm>
            <a:off x="163930" y="2339165"/>
            <a:ext cx="286434" cy="343904"/>
          </a:xfrm>
          <a:prstGeom prst="diamond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ildtext 1 66">
            <a:extLst>
              <a:ext uri="{FF2B5EF4-FFF2-40B4-BE49-F238E27FC236}">
                <a16:creationId xmlns:a16="http://schemas.microsoft.com/office/drawing/2014/main" id="{7C92554C-324C-6DB6-3E55-4BADF6281E0A}"/>
              </a:ext>
            </a:extLst>
          </p:cNvPr>
          <p:cNvSpPr/>
          <p:nvPr/>
        </p:nvSpPr>
        <p:spPr>
          <a:xfrm>
            <a:off x="745763" y="2645883"/>
            <a:ext cx="662530" cy="451643"/>
          </a:xfrm>
          <a:prstGeom prst="borderCallout1">
            <a:avLst>
              <a:gd name="adj1" fmla="val 729052"/>
              <a:gd name="adj2" fmla="val 473540"/>
              <a:gd name="adj3" fmla="val -264987"/>
              <a:gd name="adj4" fmla="val 48629"/>
            </a:avLst>
          </a:prstGeom>
          <a:solidFill>
            <a:srgbClr val="DAE9F6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nk-tank</a:t>
            </a:r>
            <a:br>
              <a:rPr kumimoji="0" lang="sv-SE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omb 5">
            <a:extLst>
              <a:ext uri="{FF2B5EF4-FFF2-40B4-BE49-F238E27FC236}">
                <a16:creationId xmlns:a16="http://schemas.microsoft.com/office/drawing/2014/main" id="{80AA3B98-3158-4D53-6BA7-A9C9BD499DE7}"/>
              </a:ext>
            </a:extLst>
          </p:cNvPr>
          <p:cNvSpPr/>
          <p:nvPr/>
        </p:nvSpPr>
        <p:spPr>
          <a:xfrm>
            <a:off x="959803" y="2322230"/>
            <a:ext cx="286434" cy="343904"/>
          </a:xfrm>
          <a:prstGeom prst="diamond">
            <a:avLst/>
          </a:prstGeom>
          <a:solidFill>
            <a:srgbClr val="DAE9F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4351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0E0677-129D-8927-CF68-7302BF107A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BB5163B6-988E-8425-8E27-18F3609AD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Angreppssät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7873AE0-B793-9A2C-AC39-C238A0E6664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514350" indent="-514350">
              <a:buFont typeface="+mj-lt"/>
              <a:buAutoNum type="romanUcPeriod"/>
            </a:pPr>
            <a:r>
              <a:rPr lang="sv-SE">
                <a:ea typeface="+mn-lt"/>
                <a:cs typeface="+mn-lt"/>
              </a:rPr>
              <a:t>Nio utmaningarna 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ea typeface="+mn-lt"/>
                <a:cs typeface="+mn-lt"/>
              </a:rPr>
              <a:t>Övergripande mål (120 000 jobb)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ea typeface="+mn-lt"/>
                <a:cs typeface="+mn-lt"/>
              </a:rPr>
              <a:t>Indikatorer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ea typeface="+mn-lt"/>
                <a:cs typeface="+mn-lt"/>
              </a:rPr>
              <a:t>Strategiska områdena</a:t>
            </a:r>
            <a:endParaRPr lang="sv-SE"/>
          </a:p>
          <a:p>
            <a:pPr marL="514350" indent="-514350">
              <a:buFont typeface="+mj-lt"/>
              <a:buAutoNum type="romanUcPeriod"/>
            </a:pPr>
            <a:r>
              <a:rPr lang="sv-SE">
                <a:ea typeface="+mn-lt"/>
                <a:cs typeface="+mn-lt"/>
              </a:rPr>
              <a:t>Insatser</a:t>
            </a:r>
          </a:p>
          <a:p>
            <a:pPr marL="514350" indent="-514350">
              <a:buFont typeface="+mj-lt"/>
              <a:buAutoNum type="romanUcPeriod"/>
            </a:pPr>
            <a:endParaRPr lang="sv-SE">
              <a:ea typeface="+mn-lt"/>
              <a:cs typeface="+mn-lt"/>
            </a:endParaRPr>
          </a:p>
          <a:p>
            <a:pPr marL="514350" indent="-514350">
              <a:buFont typeface="+mj-lt"/>
              <a:buAutoNum type="romanUcPeriod"/>
            </a:pPr>
            <a:endParaRPr lang="sv-SE">
              <a:ea typeface="+mn-lt"/>
              <a:cs typeface="+mn-lt"/>
            </a:endParaRPr>
          </a:p>
          <a:p>
            <a:pPr marL="0" indent="0">
              <a:buNone/>
            </a:pPr>
            <a:r>
              <a:rPr lang="sv-SE">
                <a:ea typeface="+mn-lt"/>
                <a:cs typeface="+mn-lt"/>
              </a:rPr>
              <a:t>Att utveckla: Det övergripande ”</a:t>
            </a:r>
            <a:r>
              <a:rPr lang="sv-SE" err="1">
                <a:ea typeface="+mn-lt"/>
                <a:cs typeface="+mn-lt"/>
              </a:rPr>
              <a:t>Hur:et</a:t>
            </a:r>
            <a:r>
              <a:rPr lang="sv-SE">
                <a:ea typeface="+mn-lt"/>
                <a:cs typeface="+mn-lt"/>
              </a:rPr>
              <a:t>. Hur påverkar </a:t>
            </a:r>
            <a:r>
              <a:rPr lang="sv-SE" err="1">
                <a:ea typeface="+mn-lt"/>
                <a:cs typeface="+mn-lt"/>
              </a:rPr>
              <a:t>näsp</a:t>
            </a:r>
            <a:r>
              <a:rPr lang="sv-SE">
                <a:ea typeface="+mn-lt"/>
                <a:cs typeface="+mn-lt"/>
              </a:rPr>
              <a:t> kärnverksamheten hos delansvariga förvaltningar/bolag?</a:t>
            </a:r>
          </a:p>
          <a:p>
            <a:pPr marL="0" indent="0">
              <a:buNone/>
            </a:pPr>
            <a:endParaRPr lang="sv-SE">
              <a:cs typeface="Arial"/>
            </a:endParaRP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91C99A43-F748-0118-8235-B97971DE569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514350" indent="-514350">
              <a:buFont typeface="+mj-lt"/>
              <a:buAutoNum type="romanUcPeriod"/>
            </a:pPr>
            <a:r>
              <a:rPr lang="sv-SE">
                <a:cs typeface="Arial"/>
              </a:rPr>
              <a:t>Formuleringarna skärps. Processas i revideringsgrupp. 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cs typeface="Arial"/>
              </a:rPr>
              <a:t>Processas i revideringsgrupp. Justeras </a:t>
            </a:r>
            <a:r>
              <a:rPr lang="sv-SE" err="1">
                <a:cs typeface="Arial"/>
              </a:rPr>
              <a:t>ev</a:t>
            </a:r>
            <a:r>
              <a:rPr lang="sv-SE">
                <a:cs typeface="Arial"/>
              </a:rPr>
              <a:t> 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cs typeface="Arial"/>
              </a:rPr>
              <a:t>Processas i revideringsgrupp samt processledargruppen. 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cs typeface="Arial"/>
              </a:rPr>
              <a:t>Strategiska områdena kvar</a:t>
            </a:r>
          </a:p>
          <a:p>
            <a:pPr marL="514350" indent="-514350">
              <a:buFont typeface="+mj-lt"/>
              <a:buAutoNum type="romanUcPeriod"/>
            </a:pPr>
            <a:r>
              <a:rPr lang="sv-SE">
                <a:cs typeface="Arial"/>
              </a:rPr>
              <a:t>Processas med respektive strategiskt område: arbetsgrupper, styrgrupper för respektive område</a:t>
            </a:r>
          </a:p>
        </p:txBody>
      </p:sp>
    </p:spTree>
    <p:extLst>
      <p:ext uri="{BB962C8B-B14F-4D97-AF65-F5344CB8AC3E}">
        <p14:creationId xmlns:p14="http://schemas.microsoft.com/office/powerpoint/2010/main" val="23050345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ktangel 48">
            <a:extLst>
              <a:ext uri="{FF2B5EF4-FFF2-40B4-BE49-F238E27FC236}">
                <a16:creationId xmlns:a16="http://schemas.microsoft.com/office/drawing/2014/main" id="{5E889D27-2293-EB61-0130-D9686A1496FD}"/>
              </a:ext>
            </a:extLst>
          </p:cNvPr>
          <p:cNvSpPr/>
          <p:nvPr/>
        </p:nvSpPr>
        <p:spPr>
          <a:xfrm>
            <a:off x="0" y="0"/>
            <a:ext cx="4064400" cy="685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om fakta identifiera långsiktiga utmaningar för regionen</a:t>
            </a:r>
          </a:p>
        </p:txBody>
      </p:sp>
      <p:grpSp>
        <p:nvGrpSpPr>
          <p:cNvPr id="52" name="Grupp 51">
            <a:extLst>
              <a:ext uri="{FF2B5EF4-FFF2-40B4-BE49-F238E27FC236}">
                <a16:creationId xmlns:a16="http://schemas.microsoft.com/office/drawing/2014/main" id="{6D559D99-7301-BDE0-0E5F-01D217F15B64}"/>
              </a:ext>
            </a:extLst>
          </p:cNvPr>
          <p:cNvGrpSpPr/>
          <p:nvPr/>
        </p:nvGrpSpPr>
        <p:grpSpPr>
          <a:xfrm>
            <a:off x="1106687" y="2054225"/>
            <a:ext cx="1851025" cy="1851025"/>
            <a:chOff x="1106687" y="1577975"/>
            <a:chExt cx="1851025" cy="1851025"/>
          </a:xfrm>
        </p:grpSpPr>
        <p:pic>
          <p:nvPicPr>
            <p:cNvPr id="50" name="Bild 49" descr="Stängd bok kontur">
              <a:extLst>
                <a:ext uri="{FF2B5EF4-FFF2-40B4-BE49-F238E27FC236}">
                  <a16:creationId xmlns:a16="http://schemas.microsoft.com/office/drawing/2014/main" id="{B7CDE8AD-3F2E-F3AC-C9AF-BE08291322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06687" y="1577975"/>
              <a:ext cx="1851025" cy="1851025"/>
            </a:xfrm>
            <a:prstGeom prst="rect">
              <a:avLst/>
            </a:prstGeom>
          </p:spPr>
        </p:pic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0E39F6D1-A2EC-77BC-F25C-30711E3FD110}"/>
                </a:ext>
              </a:extLst>
            </p:cNvPr>
            <p:cNvSpPr/>
            <p:nvPr/>
          </p:nvSpPr>
          <p:spPr>
            <a:xfrm>
              <a:off x="1739900" y="2108200"/>
              <a:ext cx="774700" cy="50165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3" name="textruta 52">
            <a:extLst>
              <a:ext uri="{FF2B5EF4-FFF2-40B4-BE49-F238E27FC236}">
                <a16:creationId xmlns:a16="http://schemas.microsoft.com/office/drawing/2014/main" id="{4B398DF6-A811-E08F-FC01-A5C7FEB8EF78}"/>
              </a:ext>
            </a:extLst>
          </p:cNvPr>
          <p:cNvSpPr txBox="1"/>
          <p:nvPr/>
        </p:nvSpPr>
        <p:spPr>
          <a:xfrm>
            <a:off x="1641475" y="2608590"/>
            <a:ext cx="97155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äringsliv &amp; Tillväxt</a:t>
            </a:r>
          </a:p>
        </p:txBody>
      </p:sp>
      <p:sp>
        <p:nvSpPr>
          <p:cNvPr id="54" name="Rektangel 53">
            <a:extLst>
              <a:ext uri="{FF2B5EF4-FFF2-40B4-BE49-F238E27FC236}">
                <a16:creationId xmlns:a16="http://schemas.microsoft.com/office/drawing/2014/main" id="{66B5C805-C0C2-07D4-8C9F-C7CB5A4040FF}"/>
              </a:ext>
            </a:extLst>
          </p:cNvPr>
          <p:cNvSpPr/>
          <p:nvPr/>
        </p:nvSpPr>
        <p:spPr>
          <a:xfrm>
            <a:off x="4064399" y="0"/>
            <a:ext cx="4064400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pplar långsiktig utmaning</a:t>
            </a:r>
            <a:b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ll strategiområde med insatser</a:t>
            </a:r>
          </a:p>
        </p:txBody>
      </p:sp>
      <p:grpSp>
        <p:nvGrpSpPr>
          <p:cNvPr id="55" name="Grupp 54">
            <a:extLst>
              <a:ext uri="{FF2B5EF4-FFF2-40B4-BE49-F238E27FC236}">
                <a16:creationId xmlns:a16="http://schemas.microsoft.com/office/drawing/2014/main" id="{6135A0FF-DAE0-0B04-CBC9-A40DF8FFBD6A}"/>
              </a:ext>
            </a:extLst>
          </p:cNvPr>
          <p:cNvGrpSpPr/>
          <p:nvPr/>
        </p:nvGrpSpPr>
        <p:grpSpPr>
          <a:xfrm>
            <a:off x="5171086" y="2054225"/>
            <a:ext cx="1851025" cy="1851025"/>
            <a:chOff x="1106687" y="1577975"/>
            <a:chExt cx="1851025" cy="1851025"/>
          </a:xfrm>
        </p:grpSpPr>
        <p:pic>
          <p:nvPicPr>
            <p:cNvPr id="56" name="Bild 55" descr="Stängd bok kontur">
              <a:extLst>
                <a:ext uri="{FF2B5EF4-FFF2-40B4-BE49-F238E27FC236}">
                  <a16:creationId xmlns:a16="http://schemas.microsoft.com/office/drawing/2014/main" id="{988C2945-8026-676D-7083-A32405E94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06687" y="1577975"/>
              <a:ext cx="1851025" cy="1851025"/>
            </a:xfrm>
            <a:prstGeom prst="rect">
              <a:avLst/>
            </a:prstGeom>
          </p:spPr>
        </p:pic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3993CC0E-FE9B-F7EC-159C-8B93F8CF7600}"/>
                </a:ext>
              </a:extLst>
            </p:cNvPr>
            <p:cNvSpPr/>
            <p:nvPr/>
          </p:nvSpPr>
          <p:spPr>
            <a:xfrm>
              <a:off x="1739900" y="2108200"/>
              <a:ext cx="774700" cy="50165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8" name="textruta 57">
            <a:extLst>
              <a:ext uri="{FF2B5EF4-FFF2-40B4-BE49-F238E27FC236}">
                <a16:creationId xmlns:a16="http://schemas.microsoft.com/office/drawing/2014/main" id="{4814C457-C59A-5647-7DC0-8528DEDB28A4}"/>
              </a:ext>
            </a:extLst>
          </p:cNvPr>
          <p:cNvSpPr txBox="1"/>
          <p:nvPr/>
        </p:nvSpPr>
        <p:spPr>
          <a:xfrm>
            <a:off x="5705874" y="2608590"/>
            <a:ext cx="97155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ÄSP</a:t>
            </a:r>
            <a:b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0A6DC2A1-3A0C-5F15-311C-F57DBEA1AFA1}"/>
              </a:ext>
            </a:extLst>
          </p:cNvPr>
          <p:cNvSpPr/>
          <p:nvPr/>
        </p:nvSpPr>
        <p:spPr>
          <a:xfrm>
            <a:off x="8127602" y="0"/>
            <a:ext cx="4064400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iområdets aktiviteter som</a:t>
            </a:r>
            <a:b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örbättrar läget inom utmaningen</a:t>
            </a:r>
          </a:p>
        </p:txBody>
      </p:sp>
      <p:grpSp>
        <p:nvGrpSpPr>
          <p:cNvPr id="60" name="Grupp 59">
            <a:extLst>
              <a:ext uri="{FF2B5EF4-FFF2-40B4-BE49-F238E27FC236}">
                <a16:creationId xmlns:a16="http://schemas.microsoft.com/office/drawing/2014/main" id="{2B62ED9B-A362-5C40-DD6D-122F0505416D}"/>
              </a:ext>
            </a:extLst>
          </p:cNvPr>
          <p:cNvGrpSpPr/>
          <p:nvPr/>
        </p:nvGrpSpPr>
        <p:grpSpPr>
          <a:xfrm>
            <a:off x="9234289" y="2054225"/>
            <a:ext cx="1851025" cy="1851025"/>
            <a:chOff x="1106687" y="1577975"/>
            <a:chExt cx="1851025" cy="1851025"/>
          </a:xfrm>
        </p:grpSpPr>
        <p:pic>
          <p:nvPicPr>
            <p:cNvPr id="61" name="Bild 60" descr="Stängd bok kontur">
              <a:extLst>
                <a:ext uri="{FF2B5EF4-FFF2-40B4-BE49-F238E27FC236}">
                  <a16:creationId xmlns:a16="http://schemas.microsoft.com/office/drawing/2014/main" id="{AC45B5EF-F09A-96D6-DB07-0FB96A8E8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06687" y="1577975"/>
              <a:ext cx="1851025" cy="1851025"/>
            </a:xfrm>
            <a:prstGeom prst="rect">
              <a:avLst/>
            </a:prstGeom>
          </p:spPr>
        </p:pic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DFAC6B0D-B2DF-F44D-4D12-B38967DBAE13}"/>
                </a:ext>
              </a:extLst>
            </p:cNvPr>
            <p:cNvSpPr/>
            <p:nvPr/>
          </p:nvSpPr>
          <p:spPr>
            <a:xfrm>
              <a:off x="1739900" y="2108200"/>
              <a:ext cx="774700" cy="50165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3" name="textruta 62">
            <a:extLst>
              <a:ext uri="{FF2B5EF4-FFF2-40B4-BE49-F238E27FC236}">
                <a16:creationId xmlns:a16="http://schemas.microsoft.com/office/drawing/2014/main" id="{B5632013-DE81-FCF9-7E7F-83F2A77C962F}"/>
              </a:ext>
            </a:extLst>
          </p:cNvPr>
          <p:cNvSpPr txBox="1"/>
          <p:nvPr/>
        </p:nvSpPr>
        <p:spPr>
          <a:xfrm>
            <a:off x="9715500" y="2608590"/>
            <a:ext cx="106322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ings-plan</a:t>
            </a:r>
            <a:b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64" name="Bild 63">
            <a:extLst>
              <a:ext uri="{FF2B5EF4-FFF2-40B4-BE49-F238E27FC236}">
                <a16:creationId xmlns:a16="http://schemas.microsoft.com/office/drawing/2014/main" id="{68603037-083C-0555-59DA-49FAC3DF3A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38863" y="223821"/>
            <a:ext cx="560382" cy="479968"/>
          </a:xfrm>
          <a:prstGeom prst="rect">
            <a:avLst/>
          </a:prstGeom>
        </p:spPr>
      </p:pic>
      <p:sp>
        <p:nvSpPr>
          <p:cNvPr id="7" name="Rubrik 6">
            <a:extLst>
              <a:ext uri="{FF2B5EF4-FFF2-40B4-BE49-F238E27FC236}">
                <a16:creationId xmlns:a16="http://schemas.microsoft.com/office/drawing/2014/main" id="{DCEE16AB-2DCB-68D5-2E66-56A5E8919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8534399" cy="730250"/>
          </a:xfrm>
        </p:spPr>
        <p:txBody>
          <a:bodyPr/>
          <a:lstStyle/>
          <a:p>
            <a:r>
              <a:rPr lang="sv-SE"/>
              <a:t>Från fakta till aktivitet</a:t>
            </a:r>
          </a:p>
        </p:txBody>
      </p:sp>
    </p:spTree>
    <p:extLst>
      <p:ext uri="{BB962C8B-B14F-4D97-AF65-F5344CB8AC3E}">
        <p14:creationId xmlns:p14="http://schemas.microsoft.com/office/powerpoint/2010/main" val="38971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0B60DDE-213D-40BE-655B-F610D9A1BF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4F285DF0-0442-67B4-906C-EEA3661FB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Långsiktiga utmaningar för regionens näringsliv</a:t>
            </a:r>
            <a:r>
              <a:rPr lang="sv-SE" b="0">
                <a:latin typeface="Arial Rounded MT Bold" panose="020F0704030504030204" pitchFamily="34" charset="0"/>
              </a:rPr>
              <a:t>…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861E9D1-88ED-01C1-8B86-3C2CADD6ABC4}"/>
              </a:ext>
            </a:extLst>
          </p:cNvPr>
          <p:cNvSpPr txBox="1"/>
          <p:nvPr/>
        </p:nvSpPr>
        <p:spPr>
          <a:xfrm>
            <a:off x="3506526" y="2818033"/>
            <a:ext cx="2595242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Stärka arbetsmarknadsregionen och Göteborgs stadskärna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6FCF14DA-4051-8FB3-DE30-AAED9EF51241}"/>
              </a:ext>
            </a:extLst>
          </p:cNvPr>
          <p:cNvSpPr txBox="1"/>
          <p:nvPr/>
        </p:nvSpPr>
        <p:spPr>
          <a:xfrm>
            <a:off x="1324681" y="2811909"/>
            <a:ext cx="1800200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Planera fö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 tillväxt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AF1C2910-0E7E-5D9F-9214-4E9F9787AF76}"/>
              </a:ext>
            </a:extLst>
          </p:cNvPr>
          <p:cNvSpPr txBox="1"/>
          <p:nvPr/>
        </p:nvSpPr>
        <p:spPr>
          <a:xfrm>
            <a:off x="6069609" y="2820651"/>
            <a:ext cx="2214004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Stärka FoU-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resurserna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F9A11F41-EF7A-5C48-C125-5266F75BBE9E}"/>
              </a:ext>
            </a:extLst>
          </p:cNvPr>
          <p:cNvSpPr txBox="1"/>
          <p:nvPr/>
        </p:nvSpPr>
        <p:spPr>
          <a:xfrm>
            <a:off x="8392356" y="2816844"/>
            <a:ext cx="2350283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Öka delaktigheten på arbetsmarknaden</a:t>
            </a: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2F8F930F-D44A-B7AC-6A43-C7F9EEEB8DB0}"/>
              </a:ext>
            </a:extLst>
          </p:cNvPr>
          <p:cNvSpPr txBox="1"/>
          <p:nvPr/>
        </p:nvSpPr>
        <p:spPr>
          <a:xfrm>
            <a:off x="4988303" y="4578141"/>
            <a:ext cx="2350283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Fler växande små och</a:t>
            </a:r>
            <a:b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</a:b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medelstora företag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FBEB1231-63AF-213F-1CFC-DC85457839EF}"/>
              </a:ext>
            </a:extLst>
          </p:cNvPr>
          <p:cNvSpPr txBox="1"/>
          <p:nvPr/>
        </p:nvSpPr>
        <p:spPr>
          <a:xfrm>
            <a:off x="2626697" y="4580469"/>
            <a:ext cx="2350283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Möta klimatutmaningen</a:t>
            </a:r>
            <a:b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</a:b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– tillsammans med näringslivet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38D24FF2-E12A-16A8-A85C-5464B436ED7A}"/>
              </a:ext>
            </a:extLst>
          </p:cNvPr>
          <p:cNvSpPr txBox="1"/>
          <p:nvPr/>
        </p:nvSpPr>
        <p:spPr>
          <a:xfrm>
            <a:off x="445755" y="4583438"/>
            <a:ext cx="2350283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Utbilda, behålla och</a:t>
            </a:r>
            <a:b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</a:b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attrahera kompetens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847E5E2F-E69B-9235-9E46-95D0966829F7}"/>
              </a:ext>
            </a:extLst>
          </p:cNvPr>
          <p:cNvSpPr txBox="1"/>
          <p:nvPr/>
        </p:nvSpPr>
        <p:spPr>
          <a:xfrm>
            <a:off x="7040761" y="4583344"/>
            <a:ext cx="2350283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Förbättr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företagsklimatet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2855218F-952C-2CC5-2275-F6E80688CBB4}"/>
              </a:ext>
            </a:extLst>
          </p:cNvPr>
          <p:cNvSpPr txBox="1"/>
          <p:nvPr/>
        </p:nvSpPr>
        <p:spPr>
          <a:xfrm>
            <a:off x="8993838" y="4583343"/>
            <a:ext cx="2847819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Stärka regionens</a:t>
            </a:r>
            <a:b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</a:b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globala tillgänglighet</a:t>
            </a:r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431F353B-1A06-AEEC-660D-9D5E51F7B8D8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838" y="3429000"/>
            <a:ext cx="1440000" cy="1440000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50E803BC-2F23-5501-FA47-2BABEC199416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2276" y="3427007"/>
            <a:ext cx="1440000" cy="1440000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D19EDB4F-E458-EFCF-7CF6-72F9B6B924D5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923" y="3493233"/>
            <a:ext cx="1440000" cy="1440000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id="{9C356B9F-185C-C01A-FA19-648FE486FD3F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4001" y="3421838"/>
            <a:ext cx="1440000" cy="1440000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id="{52FA9593-3E2C-34B5-E574-B4372A1E0ADC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781" y="1602741"/>
            <a:ext cx="1440000" cy="1440000"/>
          </a:xfrm>
          <a:prstGeom prst="rect">
            <a:avLst/>
          </a:prstGeom>
        </p:spPr>
      </p:pic>
      <p:grpSp>
        <p:nvGrpSpPr>
          <p:cNvPr id="20" name="Grupp 19">
            <a:extLst>
              <a:ext uri="{FF2B5EF4-FFF2-40B4-BE49-F238E27FC236}">
                <a16:creationId xmlns:a16="http://schemas.microsoft.com/office/drawing/2014/main" id="{5F2FF084-4CFB-ECF1-334E-F562D4A1888D}"/>
              </a:ext>
            </a:extLst>
          </p:cNvPr>
          <p:cNvGrpSpPr/>
          <p:nvPr/>
        </p:nvGrpSpPr>
        <p:grpSpPr>
          <a:xfrm>
            <a:off x="4079716" y="1619434"/>
            <a:ext cx="1440000" cy="1440000"/>
            <a:chOff x="4079716" y="1619434"/>
            <a:chExt cx="1440000" cy="1440000"/>
          </a:xfrm>
        </p:grpSpPr>
        <p:pic>
          <p:nvPicPr>
            <p:cNvPr id="21" name="Bildobjekt 20">
              <a:extLst>
                <a:ext uri="{FF2B5EF4-FFF2-40B4-BE49-F238E27FC236}">
                  <a16:creationId xmlns:a16="http://schemas.microsoft.com/office/drawing/2014/main" id="{F433480B-65F0-E705-92E8-7CD97DD99D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9716" y="1619434"/>
              <a:ext cx="1440000" cy="1440000"/>
            </a:xfrm>
            <a:prstGeom prst="rect">
              <a:avLst/>
            </a:prstGeom>
          </p:spPr>
        </p:pic>
        <p:sp>
          <p:nvSpPr>
            <p:cNvPr id="22" name="textruta 21">
              <a:extLst>
                <a:ext uri="{FF2B5EF4-FFF2-40B4-BE49-F238E27FC236}">
                  <a16:creationId xmlns:a16="http://schemas.microsoft.com/office/drawing/2014/main" id="{A4EEDEEF-C177-568E-F058-985AAE03BDF9}"/>
                </a:ext>
              </a:extLst>
            </p:cNvPr>
            <p:cNvSpPr txBox="1"/>
            <p:nvPr/>
          </p:nvSpPr>
          <p:spPr>
            <a:xfrm>
              <a:off x="4753348" y="1718416"/>
              <a:ext cx="6889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+</a:t>
              </a:r>
            </a:p>
          </p:txBody>
        </p:sp>
      </p:grpSp>
      <p:pic>
        <p:nvPicPr>
          <p:cNvPr id="23" name="Bildobjekt 22">
            <a:extLst>
              <a:ext uri="{FF2B5EF4-FFF2-40B4-BE49-F238E27FC236}">
                <a16:creationId xmlns:a16="http://schemas.microsoft.com/office/drawing/2014/main" id="{28989B16-CCE2-3C8D-A6DF-965E0A0B0ADE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1390" y="1538935"/>
            <a:ext cx="1440000" cy="1440000"/>
          </a:xfrm>
          <a:prstGeom prst="rect">
            <a:avLst/>
          </a:prstGeom>
        </p:spPr>
      </p:pic>
      <p:pic>
        <p:nvPicPr>
          <p:cNvPr id="24" name="Bildobjekt 23">
            <a:extLst>
              <a:ext uri="{FF2B5EF4-FFF2-40B4-BE49-F238E27FC236}">
                <a16:creationId xmlns:a16="http://schemas.microsoft.com/office/drawing/2014/main" id="{91DA0B68-5CB4-6CA4-BD13-55A4DC6D6297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897" y="3415399"/>
            <a:ext cx="1440000" cy="1440000"/>
          </a:xfrm>
          <a:prstGeom prst="rect">
            <a:avLst/>
          </a:prstGeom>
        </p:spPr>
      </p:pic>
      <p:pic>
        <p:nvPicPr>
          <p:cNvPr id="25" name="Bildobjekt 24" descr="En bild som visar objekt, klocka&#10;&#10;Automatiskt genererad beskrivning">
            <a:extLst>
              <a:ext uri="{FF2B5EF4-FFF2-40B4-BE49-F238E27FC236}">
                <a16:creationId xmlns:a16="http://schemas.microsoft.com/office/drawing/2014/main" id="{FCD0C9C4-0788-03A1-F0BE-05FE7D733F28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611" y="1609180"/>
            <a:ext cx="1440000" cy="1440000"/>
          </a:xfrm>
          <a:prstGeom prst="rect">
            <a:avLst/>
          </a:prstGeom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" name="Bildzoom 8">
                <a:extLst>
                  <a:ext uri="{FF2B5EF4-FFF2-40B4-BE49-F238E27FC236}">
                    <a16:creationId xmlns:a16="http://schemas.microsoft.com/office/drawing/2014/main" id="{DB13D375-04F6-6D0B-9855-59779E7A606A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538901" y="2140025"/>
              <a:ext cx="64000" cy="36000"/>
            </p:xfrm>
            <a:graphic>
              <a:graphicData uri="http://schemas.microsoft.com/office/powerpoint/2016/slidezoom">
                <pslz:sldZm>
                  <pslz:sldZmObj sldId="2147472253" cId="1419449576">
                    <pslz:zmPr id="{3C09D555-FEBB-4D9A-AB03-8238CD0286BC}" returnToParent="0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64000" cy="360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" name="Bildzoom 8">
                <a:extLst>
                  <a:ext uri="{FF2B5EF4-FFF2-40B4-BE49-F238E27FC236}">
                    <a16:creationId xmlns:a16="http://schemas.microsoft.com/office/drawing/2014/main" id="{DB13D375-04F6-6D0B-9855-59779E7A606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9538901" y="2140025"/>
                <a:ext cx="64000" cy="360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2983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BD7E89D-330E-EF50-453F-DD6573481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4. Stormöte för näringslivsstrategiska programmet 13 april</a:t>
            </a:r>
          </a:p>
        </p:txBody>
      </p:sp>
    </p:spTree>
    <p:extLst>
      <p:ext uri="{BB962C8B-B14F-4D97-AF65-F5344CB8AC3E}">
        <p14:creationId xmlns:p14="http://schemas.microsoft.com/office/powerpoint/2010/main" val="13501672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D11776-2A82-DBEF-8BDE-2ABA1543C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sv-SE"/>
            </a:br>
            <a:r>
              <a:rPr lang="sv-SE"/>
              <a:t>Stormöte 13 april (från BRG deltar </a:t>
            </a:r>
            <a:r>
              <a:rPr lang="sv-SE" err="1"/>
              <a:t>lg</a:t>
            </a:r>
            <a:r>
              <a:rPr lang="sv-SE"/>
              <a:t> samt processledare)</a:t>
            </a:r>
            <a:br>
              <a:rPr lang="sv-SE"/>
            </a:br>
            <a:r>
              <a:rPr lang="sv-SE"/>
              <a:t>13.00 - 16.00 mingel till 17.00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E1092AC-A986-3B73-1BBE-D07FA636964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457200" indent="-457200">
              <a:buAutoNum type="arabicPlain" startAt="1300"/>
            </a:pPr>
            <a:r>
              <a:rPr lang="sv-SE"/>
              <a:t>   Kaffe  - 40 tal grupper</a:t>
            </a:r>
          </a:p>
          <a:p>
            <a:pPr marL="0" indent="0">
              <a:buNone/>
            </a:pPr>
            <a:r>
              <a:rPr lang="sv-SE"/>
              <a:t>13.30	Välkommen, </a:t>
            </a:r>
            <a:r>
              <a:rPr lang="sv-SE" err="1"/>
              <a:t>kso</a:t>
            </a:r>
            <a:br>
              <a:rPr lang="sv-SE"/>
            </a:br>
            <a:br>
              <a:rPr lang="sv-SE"/>
            </a:br>
            <a:r>
              <a:rPr lang="sv-SE"/>
              <a:t>13.35 	Inflygning: Vad är stormötet för 	möte?  Vad är näringslivsstrategiska programmet?</a:t>
            </a:r>
          </a:p>
          <a:p>
            <a:pPr marL="0" indent="0">
              <a:buNone/>
            </a:pPr>
            <a:r>
              <a:rPr lang="sv-SE"/>
              <a:t>13.45 	Bordspresentation. (namn och förväntan)</a:t>
            </a:r>
          </a:p>
          <a:p>
            <a:pPr marL="0" indent="0">
              <a:buNone/>
            </a:pPr>
            <a:r>
              <a:rPr lang="sv-SE"/>
              <a:t>13.55 	Vad blev resultatet av förra årets stormöte?  Leverans HP 3? Företag presenterar.</a:t>
            </a:r>
            <a:br>
              <a:rPr lang="sv-SE"/>
            </a:b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11AD52AE-E716-D0AA-D3AA-59B9EEE2844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sv-SE"/>
              <a:t>14.10 	Hur går det? Peter Warda</a:t>
            </a:r>
          </a:p>
          <a:p>
            <a:pPr marL="0" indent="0">
              <a:buNone/>
            </a:pPr>
            <a:r>
              <a:rPr lang="sv-SE"/>
              <a:t>14.40 	Bensträckare</a:t>
            </a:r>
          </a:p>
          <a:p>
            <a:pPr marL="0" indent="0">
              <a:buNone/>
            </a:pPr>
            <a:r>
              <a:rPr lang="sv-SE"/>
              <a:t>15.00 	Rundabordssamtal- Vad är viktigast 	just nu utifrån valt perspektiv?</a:t>
            </a:r>
            <a:br>
              <a:rPr lang="sv-SE"/>
            </a:br>
            <a:br>
              <a:rPr lang="sv-SE"/>
            </a:br>
            <a:r>
              <a:rPr lang="sv-SE"/>
              <a:t>15.45 	</a:t>
            </a:r>
            <a:r>
              <a:rPr lang="sv-SE" err="1"/>
              <a:t>Fishbowl</a:t>
            </a:r>
            <a:r>
              <a:rPr lang="sv-SE"/>
              <a:t>- vad sas egentligen. 	Vad är viktigt nu?</a:t>
            </a:r>
          </a:p>
          <a:p>
            <a:pPr marL="0" indent="0">
              <a:buNone/>
            </a:pPr>
            <a:r>
              <a:rPr lang="sv-SE"/>
              <a:t> 16.00	Avrundning, Patrik Andersson, 	Eva Hessman</a:t>
            </a:r>
          </a:p>
          <a:p>
            <a:pPr marL="0" indent="0">
              <a:buNone/>
            </a:pPr>
            <a:r>
              <a:rPr lang="sv-SE"/>
              <a:t>16.10 	Mingel</a:t>
            </a:r>
          </a:p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53265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7C957E2-0924-5D36-E01B-A775FBCA8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/>
              <a:t>5.Företagsbesöksdagen 2026 går av stapeln 6 okt.</a:t>
            </a:r>
            <a:br>
              <a:rPr lang="sv-SE"/>
            </a:br>
            <a:r>
              <a:rPr lang="sv-SE"/>
              <a:t>Hela </a:t>
            </a:r>
            <a:r>
              <a:rPr lang="sv-SE" err="1"/>
              <a:t>BRG:s</a:t>
            </a:r>
            <a:r>
              <a:rPr lang="sv-SE"/>
              <a:t> styrelse inbjudna</a:t>
            </a:r>
          </a:p>
        </p:txBody>
      </p:sp>
    </p:spTree>
    <p:extLst>
      <p:ext uri="{BB962C8B-B14F-4D97-AF65-F5344CB8AC3E}">
        <p14:creationId xmlns:p14="http://schemas.microsoft.com/office/powerpoint/2010/main" val="3966660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013CA3-62BD-5386-A9C1-F286A01D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6838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138A0628-8F4D-37A1-85C8-0CC1EC672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Agenda</a:t>
            </a: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05E92AF6-F01F-9D07-158B-4424805F0DB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sv-SE"/>
              <a:t>Utfall HP 3 2024-25</a:t>
            </a:r>
          </a:p>
          <a:p>
            <a:pPr marL="457200" indent="-457200">
              <a:buFont typeface="+mj-lt"/>
              <a:buAutoNum type="arabicPeriod"/>
            </a:pPr>
            <a:r>
              <a:rPr lang="sv-SE"/>
              <a:t>Utfall </a:t>
            </a:r>
            <a:r>
              <a:rPr lang="sv-SE" err="1"/>
              <a:t>reg</a:t>
            </a:r>
            <a:r>
              <a:rPr lang="sv-SE"/>
              <a:t> </a:t>
            </a:r>
            <a:r>
              <a:rPr lang="sv-SE" err="1"/>
              <a:t>vp</a:t>
            </a:r>
            <a:r>
              <a:rPr lang="sv-SE"/>
              <a:t> 2025</a:t>
            </a:r>
          </a:p>
          <a:p>
            <a:pPr marL="457200" indent="-457200">
              <a:buFont typeface="+mj-lt"/>
              <a:buAutoNum type="arabicPeriod"/>
            </a:pPr>
            <a:r>
              <a:rPr lang="sv-SE"/>
              <a:t>Revideringsprocess</a:t>
            </a:r>
          </a:p>
          <a:p>
            <a:pPr marL="457200" indent="-457200">
              <a:buFont typeface="+mj-lt"/>
              <a:buAutoNum type="arabicPeriod"/>
            </a:pPr>
            <a:r>
              <a:rPr lang="sv-SE"/>
              <a:t>Stormöte 13 april</a:t>
            </a:r>
          </a:p>
          <a:p>
            <a:pPr marL="457200" indent="-457200">
              <a:buFont typeface="+mj-lt"/>
              <a:buAutoNum type="arabicPeriod"/>
            </a:pPr>
            <a:r>
              <a:rPr lang="sv-SE"/>
              <a:t>Företagsbesöksdag 6 okt</a:t>
            </a:r>
            <a:endParaRPr lang="sv-SE">
              <a:cs typeface="Arial"/>
            </a:endParaRPr>
          </a:p>
        </p:txBody>
      </p:sp>
      <p:pic>
        <p:nvPicPr>
          <p:cNvPr id="3" name="Platshållare för bild 2" descr="En bild som visar utomhus, vatten, himmel, skepp&#10;&#10;AI-genererat innehåll kan vara felaktigt.">
            <a:extLst>
              <a:ext uri="{FF2B5EF4-FFF2-40B4-BE49-F238E27FC236}">
                <a16:creationId xmlns:a16="http://schemas.microsoft.com/office/drawing/2014/main" id="{F28C245B-912C-582C-CEEE-020403009A3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25010" r="25010"/>
          <a:stretch>
            <a:fillRect/>
          </a:stretch>
        </p:blipFill>
        <p:spPr/>
      </p:pic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C2ADED3A-B8B9-8A32-3D36-93BD991329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499AC14E-8BAF-DFB9-7B1D-633E2A77D5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25000" lnSpcReduction="20000"/>
          </a:bodyPr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03356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FF764CF-E401-F3B0-F9AB-A76E77FA9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AutoNum type="arabicPeriod"/>
            </a:pPr>
            <a:r>
              <a:rPr lang="sv-SE" sz="2400"/>
              <a:t>Utfall handlingsplan 3 Göteborg Stad - 2024-25. 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C949C630-68AF-F027-B60C-4950A85A6FA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271145" indent="-271145"/>
            <a:r>
              <a:rPr lang="sv-SE"/>
              <a:t>91 % genomfört</a:t>
            </a:r>
            <a:br>
              <a:rPr lang="sv-SE"/>
            </a:br>
            <a:endParaRPr lang="sv-SE"/>
          </a:p>
          <a:p>
            <a:pPr marL="271145" indent="-271145"/>
            <a:r>
              <a:rPr lang="sv-SE" b="1"/>
              <a:t>Röda aktiviteter</a:t>
            </a:r>
            <a:br>
              <a:rPr lang="sv-SE"/>
            </a:br>
            <a:r>
              <a:rPr lang="sv-SE" i="1"/>
              <a:t>Kompetensförsörjning</a:t>
            </a:r>
            <a:br>
              <a:rPr lang="sv-SE"/>
            </a:br>
            <a:r>
              <a:rPr lang="sv-SE"/>
              <a:t>resursbrist, förutsättningarna saknats för genomförande. </a:t>
            </a:r>
            <a:endParaRPr lang="sv-SE">
              <a:cs typeface="Arial"/>
            </a:endParaRPr>
          </a:p>
          <a:p>
            <a:pPr marL="271145" indent="-271145"/>
            <a:r>
              <a:rPr lang="sv-SE" i="1"/>
              <a:t>Företagsklimat</a:t>
            </a:r>
            <a:br>
              <a:rPr lang="sv-SE"/>
            </a:br>
            <a:r>
              <a:rPr lang="sv-SE"/>
              <a:t>Ingen vill/har möjlighet att samordna arbetet med digital tjänst.</a:t>
            </a:r>
            <a:endParaRPr lang="sv-SE">
              <a:cs typeface="Arial"/>
            </a:endParaRPr>
          </a:p>
        </p:txBody>
      </p:sp>
      <p:pic>
        <p:nvPicPr>
          <p:cNvPr id="10" name="Platshållare för bild 9" descr="En bild som visar utomhus, byggnad, träd, infrastruktur&#10;&#10;AI-genererat innehåll kan vara felaktigt.">
            <a:extLst>
              <a:ext uri="{FF2B5EF4-FFF2-40B4-BE49-F238E27FC236}">
                <a16:creationId xmlns:a16="http://schemas.microsoft.com/office/drawing/2014/main" id="{7AC77A49-975E-0138-8416-2C0AD80557A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21501" r="21501"/>
          <a:stretch>
            <a:fillRect/>
          </a:stretch>
        </p:blipFill>
        <p:spPr/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6A453ECC-A816-1E78-9B82-1C3A75D384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25000" lnSpcReduction="20000"/>
          </a:bodyPr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655244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11650-0DB5-C747-9275-7FA40EDEE2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tshållare för bild 8" descr="En bild som visar klädsel, person, Människoansikte, fönster&#10;&#10;AI-genererat innehåll kan vara felaktigt.">
            <a:extLst>
              <a:ext uri="{FF2B5EF4-FFF2-40B4-BE49-F238E27FC236}">
                <a16:creationId xmlns:a16="http://schemas.microsoft.com/office/drawing/2014/main" id="{7E2FF14B-5C14-0450-3BEE-AAE569F8078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12513" b="12513"/>
          <a:stretch>
            <a:fillRect/>
          </a:stretch>
        </p:blipFill>
        <p:spPr/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48A8A3EC-AA46-D27B-A760-2DB64A507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x på lyckade aktiviteter:</a:t>
            </a:r>
            <a:br>
              <a:rPr lang="sv-SE"/>
            </a:b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98501A7-4B58-9E31-1170-1BEE3D160CD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sv-SE" sz="1600" b="1"/>
              <a:t>Kompetensförsörjning</a:t>
            </a:r>
            <a:br>
              <a:rPr lang="sv-SE" sz="1600"/>
            </a:br>
            <a:r>
              <a:rPr lang="sv-SE" sz="1600"/>
              <a:t>Lanseringen av plattformen för social hållbarhet</a:t>
            </a:r>
            <a:br>
              <a:rPr lang="sv-SE" sz="1600"/>
            </a:br>
            <a:endParaRPr lang="sv-SE" sz="1600"/>
          </a:p>
          <a:p>
            <a:r>
              <a:rPr lang="sv-SE" sz="1600" b="1"/>
              <a:t>Attraktionskraft:</a:t>
            </a:r>
            <a:br>
              <a:rPr lang="sv-SE" sz="1600"/>
            </a:br>
            <a:r>
              <a:rPr lang="sv-SE" sz="1600"/>
              <a:t>Lindholmen/Götaverken är valt som pilotområde för tillåtande miljöer.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1818AE10-8DFF-D935-A702-042A39E4ED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flipH="1">
            <a:off x="-4953" y="-2"/>
            <a:ext cx="3196473" cy="6858001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35349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C16D1-23B2-DAE6-C751-6941DD9A8E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tshållare för bild 8" descr="En bild som visar himmel, hjul, väg, utomhus&#10;&#10;AI-genererat innehåll kan vara felaktigt.">
            <a:extLst>
              <a:ext uri="{FF2B5EF4-FFF2-40B4-BE49-F238E27FC236}">
                <a16:creationId xmlns:a16="http://schemas.microsoft.com/office/drawing/2014/main" id="{EA178E3B-C7E3-08E6-EC7A-8CB499FAB67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7813" b="7813"/>
          <a:stretch>
            <a:fillRect/>
          </a:stretch>
        </p:blipFill>
        <p:spPr/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0DA83FF0-6560-D04A-0CB1-3665BB9CC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x på lyckade aktiviteter:</a:t>
            </a:r>
            <a:br>
              <a:rPr lang="sv-SE"/>
            </a:b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6F4A1D4-F11C-71A9-D3A4-65FFB669D28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sv-SE" b="1"/>
              <a:t>Infrastruktur och tillgänglighet</a:t>
            </a:r>
            <a:br>
              <a:rPr lang="sv-SE"/>
            </a:br>
            <a:r>
              <a:rPr lang="sv-SE"/>
              <a:t>Cykelutmaningen har överträffat målet om 100 anslutna företag </a:t>
            </a:r>
          </a:p>
          <a:p>
            <a:r>
              <a:rPr lang="sv-SE" b="1"/>
              <a:t>Markberedskap</a:t>
            </a:r>
            <a:br>
              <a:rPr lang="sv-SE"/>
            </a:br>
            <a:r>
              <a:rPr lang="sv-SE"/>
              <a:t>Forum för dagligvaruhandel har uppfattats som lyckat av de medverkande. Forumet har kunnat påverka kommunen och livsmedelsaktörerna.</a:t>
            </a:r>
            <a:endParaRPr lang="sv-SE" sz="1400" i="1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3312D9C5-7D35-9D52-EFAE-FEA2898E4E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flipH="1">
            <a:off x="3337" y="-2"/>
            <a:ext cx="3196473" cy="6858001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3326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3ADBAC-715D-4333-20A9-4740E620EC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0F9038C-554C-BE06-3B24-3AC952A78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x på lyckade aktiviteter: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3991FF4-4860-4531-6191-D6D333901F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4436027"/>
          </a:xfrm>
        </p:spPr>
        <p:txBody>
          <a:bodyPr>
            <a:normAutofit/>
          </a:bodyPr>
          <a:lstStyle/>
          <a:p>
            <a:r>
              <a:rPr lang="sv-SE" sz="1600" b="1"/>
              <a:t>Företagsklimat</a:t>
            </a:r>
            <a:br>
              <a:rPr lang="sv-SE" sz="1600"/>
            </a:br>
            <a:r>
              <a:rPr lang="sv-SE" sz="1600"/>
              <a:t>Lanseringen av Staden och Företagarna som är ett resultat av/åtgärd för det dåliga resultatet i företagsklimatmätningarna.</a:t>
            </a:r>
            <a:br>
              <a:rPr lang="sv-SE" sz="1600"/>
            </a:br>
            <a:endParaRPr lang="sv-SE" sz="1600"/>
          </a:p>
          <a:p>
            <a:r>
              <a:rPr lang="sv-SE" sz="1600" b="1"/>
              <a:t>Innovationskraft</a:t>
            </a:r>
            <a:br>
              <a:rPr lang="sv-SE" sz="1600"/>
            </a:br>
            <a:r>
              <a:rPr lang="sv-SE" sz="1600"/>
              <a:t>Utredning om vilka delar av stadens förvaltningar och bolag som har störst potential att utveckla innovationsupphandling kopplat till klimatpåverkan av inköp genomförd.</a:t>
            </a:r>
            <a:br>
              <a:rPr lang="sv-SE" sz="1600"/>
            </a:br>
            <a:endParaRPr lang="sv-SE" sz="1600"/>
          </a:p>
        </p:txBody>
      </p:sp>
      <p:pic>
        <p:nvPicPr>
          <p:cNvPr id="7" name="Platshållare för bild 6" descr="En bild som visar person, klädsel, bord, inomhus&#10;&#10;AI-genererat innehåll kan vara felaktigt.">
            <a:extLst>
              <a:ext uri="{FF2B5EF4-FFF2-40B4-BE49-F238E27FC236}">
                <a16:creationId xmlns:a16="http://schemas.microsoft.com/office/drawing/2014/main" id="{778B7253-2B08-EE0D-64C5-4C2235D6A4F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12513" b="12513"/>
          <a:stretch>
            <a:fillRect/>
          </a:stretch>
        </p:blipFill>
        <p:spPr/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6DB91B02-4323-BAA3-95BD-8B9370994B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flipH="1">
            <a:off x="-1176" y="-2"/>
            <a:ext cx="3196473" cy="6858001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13019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E6A6A8-B2FB-7674-BEE7-85FE996E1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37B8CF19-340A-BE99-460C-5F9FCA672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2.Utfall </a:t>
            </a:r>
            <a:r>
              <a:rPr lang="sv-SE" err="1"/>
              <a:t>reg</a:t>
            </a:r>
            <a:r>
              <a:rPr lang="sv-SE"/>
              <a:t> </a:t>
            </a:r>
            <a:r>
              <a:rPr lang="sv-SE" err="1"/>
              <a:t>vp</a:t>
            </a:r>
            <a:r>
              <a:rPr lang="sv-SE"/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9553388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9273E20-16F2-9AF5-E052-F84CD0094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Utfall regional </a:t>
            </a:r>
            <a:r>
              <a:rPr lang="sv-SE" err="1"/>
              <a:t>vp</a:t>
            </a:r>
            <a:r>
              <a:rPr lang="sv-SE"/>
              <a:t> 2025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DE79C42-0ED0-345D-EA78-2C2837FF12B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v-SE"/>
              <a:t>90 % genomförda aktiviteter.</a:t>
            </a:r>
          </a:p>
          <a:p>
            <a:r>
              <a:rPr lang="sv-SE"/>
              <a:t>Ex på lyckade aktiviteter</a:t>
            </a:r>
            <a:br>
              <a:rPr lang="sv-SE"/>
            </a:br>
            <a:r>
              <a:rPr lang="sv-SE"/>
              <a:t>SSA seminarium 8 maj</a:t>
            </a:r>
            <a:br>
              <a:rPr lang="sv-SE"/>
            </a:br>
            <a:r>
              <a:rPr lang="sv-SE"/>
              <a:t>Dialog med Västtrafik i juni</a:t>
            </a:r>
            <a:br>
              <a:rPr lang="sv-SE"/>
            </a:br>
            <a:r>
              <a:rPr lang="sv-SE"/>
              <a:t>Seminarium Ledarskap för företagsklimat</a:t>
            </a:r>
          </a:p>
        </p:txBody>
      </p:sp>
      <p:pic>
        <p:nvPicPr>
          <p:cNvPr id="7" name="Platshållare för bild 6" descr="En bild som visar byggnad, utomhus, fönster, himmel&#10;&#10;AI-genererat innehåll kan vara felaktigt.">
            <a:extLst>
              <a:ext uri="{FF2B5EF4-FFF2-40B4-BE49-F238E27FC236}">
                <a16:creationId xmlns:a16="http://schemas.microsoft.com/office/drawing/2014/main" id="{311C7986-0F9B-F908-871A-648B1F0C0F7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25000" r="25000"/>
          <a:stretch>
            <a:fillRect/>
          </a:stretch>
        </p:blipFill>
        <p:spPr/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96F3EA34-F9F3-054A-65CA-2DA6AE4D44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62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52083CC-B1A3-4F58-B1CF-AA7FE097F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ad kan vi göra tillsammans regionalt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82B5A18-9407-676A-AF56-E722AC5FC94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v-SE"/>
              <a:t>Seminarier</a:t>
            </a:r>
          </a:p>
          <a:p>
            <a:r>
              <a:rPr lang="sv-SE"/>
              <a:t>Kompetenshöjning </a:t>
            </a:r>
          </a:p>
          <a:p>
            <a:r>
              <a:rPr lang="sv-SE"/>
              <a:t>Analyser</a:t>
            </a:r>
          </a:p>
          <a:p>
            <a:r>
              <a:rPr lang="sv-SE"/>
              <a:t>Kraftsamla och lobba kring frågor</a:t>
            </a:r>
          </a:p>
          <a:p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D48A52EC-C48C-6611-D376-868574DE96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DECFD2D-A938-E77B-B0CC-CA11E19D65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69477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MByrUQGXf7hsQOQsox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MByrUQGXf7hsQOQsox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rg6HggmY_niiEeFo37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8URRfBtC07JDGolJ3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dAVXJvXfn1BfT51P6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G Basic">
  <a:themeElements>
    <a:clrScheme name="BRG Basic">
      <a:dk1>
        <a:sysClr val="windowText" lastClr="000000"/>
      </a:dk1>
      <a:lt1>
        <a:sysClr val="window" lastClr="FFFFFF"/>
      </a:lt1>
      <a:dk2>
        <a:srgbClr val="FF7487"/>
      </a:dk2>
      <a:lt2>
        <a:srgbClr val="948AF2"/>
      </a:lt2>
      <a:accent1>
        <a:srgbClr val="1D4F78"/>
      </a:accent1>
      <a:accent2>
        <a:srgbClr val="0094D8"/>
      </a:accent2>
      <a:accent3>
        <a:srgbClr val="66C1BF"/>
      </a:accent3>
      <a:accent4>
        <a:srgbClr val="66BDE6"/>
      </a:accent4>
      <a:accent5>
        <a:srgbClr val="A2D8D7"/>
      </a:accent5>
      <a:accent6>
        <a:srgbClr val="A3BDC7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ht-25 ver 1-BOOK-Q0Q2430FNE" id="{E97731FF-AE5C-4F80-A0DC-8544E70184E0}" vid="{106AC1F5-303F-4702-AE94-7C4EB7E91FA7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G Mörkblå">
  <a:themeElements>
    <a:clrScheme name="Anpassat 5">
      <a:dk1>
        <a:sysClr val="windowText" lastClr="000000"/>
      </a:dk1>
      <a:lt1>
        <a:sysClr val="window" lastClr="FFFFFF"/>
      </a:lt1>
      <a:dk2>
        <a:srgbClr val="948AF2"/>
      </a:dk2>
      <a:lt2>
        <a:srgbClr val="FF7487"/>
      </a:lt2>
      <a:accent1>
        <a:srgbClr val="1D4F78"/>
      </a:accent1>
      <a:accent2>
        <a:srgbClr val="6889A4"/>
      </a:accent2>
      <a:accent3>
        <a:srgbClr val="A3B7C7"/>
      </a:accent3>
      <a:accent4>
        <a:srgbClr val="D0DAE2"/>
      </a:accent4>
      <a:accent5>
        <a:srgbClr val="989898"/>
      </a:accent5>
      <a:accent6>
        <a:srgbClr val="CBCBC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ht-25 ver 1-BOOK-Q0Q2430FNE" id="{E97731FF-AE5C-4F80-A0DC-8544E70184E0}" vid="{87FD53CD-159A-4F72-AFE5-045A3C31D672}"/>
    </a:ext>
  </a:extLst>
</a:theme>
</file>

<file path=ppt/theme/theme3.xml><?xml version="1.0" encoding="utf-8"?>
<a:theme xmlns:a="http://schemas.openxmlformats.org/drawingml/2006/main" name="BRG Lila">
  <a:themeElements>
    <a:clrScheme name="BRG Tech">
      <a:dk1>
        <a:sysClr val="windowText" lastClr="000000"/>
      </a:dk1>
      <a:lt1>
        <a:sysClr val="window" lastClr="FFFFFF"/>
      </a:lt1>
      <a:dk2>
        <a:srgbClr val="FBE734"/>
      </a:dk2>
      <a:lt2>
        <a:srgbClr val="FF7487"/>
      </a:lt2>
      <a:accent1>
        <a:srgbClr val="948AF2"/>
      </a:accent1>
      <a:accent2>
        <a:srgbClr val="BDB7F6"/>
      </a:accent2>
      <a:accent3>
        <a:srgbClr val="D3CFF8"/>
      </a:accent3>
      <a:accent4>
        <a:srgbClr val="323232"/>
      </a:accent4>
      <a:accent5>
        <a:srgbClr val="989898"/>
      </a:accent5>
      <a:accent6>
        <a:srgbClr val="CBCBC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ht-25 ver 1-BOOK-Q0Q2430FNE" id="{E97731FF-AE5C-4F80-A0DC-8544E70184E0}" vid="{87FD53CD-159A-4F72-AFE5-045A3C31D672}"/>
    </a:ext>
  </a:extLst>
</a:theme>
</file>

<file path=ppt/theme/theme4.xml><?xml version="1.0" encoding="utf-8"?>
<a:theme xmlns:a="http://schemas.openxmlformats.org/drawingml/2006/main" name="BRG Turkos">
  <a:themeElements>
    <a:clrScheme name="BRG Turkos">
      <a:dk1>
        <a:sysClr val="windowText" lastClr="000000"/>
      </a:dk1>
      <a:lt1>
        <a:sysClr val="window" lastClr="FFFFFF"/>
      </a:lt1>
      <a:dk2>
        <a:srgbClr val="948AF2"/>
      </a:dk2>
      <a:lt2>
        <a:srgbClr val="FF7487"/>
      </a:lt2>
      <a:accent1>
        <a:srgbClr val="66C1BF"/>
      </a:accent1>
      <a:accent2>
        <a:srgbClr val="A3D8D7"/>
      </a:accent2>
      <a:accent3>
        <a:srgbClr val="C0E5E4"/>
      </a:accent3>
      <a:accent4>
        <a:srgbClr val="DFF1F1"/>
      </a:accent4>
      <a:accent5>
        <a:srgbClr val="989898"/>
      </a:accent5>
      <a:accent6>
        <a:srgbClr val="CBCBC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ht-25 ver 1-BOOK-Q0Q2430FNE" id="{E97731FF-AE5C-4F80-A0DC-8544E70184E0}" vid="{DEF8738B-0DD1-41BD-8DC6-1E4E9E32B026}"/>
    </a:ext>
  </a:extLst>
</a:theme>
</file>

<file path=ppt/theme/theme5.xml><?xml version="1.0" encoding="utf-8"?>
<a:theme xmlns:a="http://schemas.openxmlformats.org/drawingml/2006/main" name="BRG Ljusblå">
  <a:themeElements>
    <a:clrScheme name="BRG Ljusblå">
      <a:dk1>
        <a:sysClr val="windowText" lastClr="000000"/>
      </a:dk1>
      <a:lt1>
        <a:sysClr val="window" lastClr="FFFFFF"/>
      </a:lt1>
      <a:dk2>
        <a:srgbClr val="948AF2"/>
      </a:dk2>
      <a:lt2>
        <a:srgbClr val="FF7487"/>
      </a:lt2>
      <a:accent1>
        <a:srgbClr val="0094D8"/>
      </a:accent1>
      <a:accent2>
        <a:srgbClr val="66BDE6"/>
      </a:accent2>
      <a:accent3>
        <a:srgbClr val="98D3EE"/>
      </a:accent3>
      <a:accent4>
        <a:srgbClr val="CBE8F6"/>
      </a:accent4>
      <a:accent5>
        <a:srgbClr val="989898"/>
      </a:accent5>
      <a:accent6>
        <a:srgbClr val="CBCBC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ht-25 ver 1-BOOK-Q0Q2430FNE" id="{E97731FF-AE5C-4F80-A0DC-8544E70184E0}" vid="{77BC2DDA-A600-4242-BB22-73B931E6982F}"/>
    </a:ext>
  </a:extLst>
</a:theme>
</file>

<file path=ppt/theme/theme6.xml><?xml version="1.0" encoding="utf-8"?>
<a:theme xmlns:a="http://schemas.openxmlformats.org/drawingml/2006/main" name="BRG Advanced">
  <a:themeElements>
    <a:clrScheme name="BRG Basic">
      <a:dk1>
        <a:sysClr val="windowText" lastClr="000000"/>
      </a:dk1>
      <a:lt1>
        <a:sysClr val="window" lastClr="FFFFFF"/>
      </a:lt1>
      <a:dk2>
        <a:srgbClr val="FF7487"/>
      </a:dk2>
      <a:lt2>
        <a:srgbClr val="948AF2"/>
      </a:lt2>
      <a:accent1>
        <a:srgbClr val="1D4F78"/>
      </a:accent1>
      <a:accent2>
        <a:srgbClr val="0094D8"/>
      </a:accent2>
      <a:accent3>
        <a:srgbClr val="66C1BF"/>
      </a:accent3>
      <a:accent4>
        <a:srgbClr val="66BDE6"/>
      </a:accent4>
      <a:accent5>
        <a:srgbClr val="A2D8D7"/>
      </a:accent5>
      <a:accent6>
        <a:srgbClr val="A3BDC7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ht-25 ver 1-BOOK-Q0Q2430FNE" id="{E97731FF-AE5C-4F80-A0DC-8544E70184E0}" vid="{B4C0127C-A510-4024-A9FD-5E4628AB831D}"/>
    </a:ext>
  </a:extLst>
</a:theme>
</file>

<file path=ppt/theme/theme7.xml><?xml version="1.0" encoding="utf-8"?>
<a:theme xmlns:a="http://schemas.openxmlformats.org/drawingml/2006/main" name="1_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DDC2BCFA-9A53-4902-BE0C-BE297FF3B5A9}"/>
    </a:ext>
  </a:extLst>
</a:theme>
</file>

<file path=ppt/theme/theme8.xml><?xml version="1.0" encoding="utf-8"?>
<a:theme xmlns:a="http://schemas.openxmlformats.org/drawingml/2006/main" name="1_BRG Advanced">
  <a:themeElements>
    <a:clrScheme name="BRG Basic">
      <a:dk1>
        <a:sysClr val="windowText" lastClr="000000"/>
      </a:dk1>
      <a:lt1>
        <a:sysClr val="window" lastClr="FFFFFF"/>
      </a:lt1>
      <a:dk2>
        <a:srgbClr val="FF7487"/>
      </a:dk2>
      <a:lt2>
        <a:srgbClr val="948AF2"/>
      </a:lt2>
      <a:accent1>
        <a:srgbClr val="1D4F78"/>
      </a:accent1>
      <a:accent2>
        <a:srgbClr val="0094D8"/>
      </a:accent2>
      <a:accent3>
        <a:srgbClr val="66C1BF"/>
      </a:accent3>
      <a:accent4>
        <a:srgbClr val="66BDE6"/>
      </a:accent4>
      <a:accent5>
        <a:srgbClr val="A2D8D7"/>
      </a:accent5>
      <a:accent6>
        <a:srgbClr val="A3BDC7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ht-25 ver 1-BOOK-Q0Q2430FNE" id="{E97731FF-AE5C-4F80-A0DC-8544E70184E0}" vid="{B4C0127C-A510-4024-A9FD-5E4628AB831D}"/>
    </a:ext>
  </a:extLst>
</a:theme>
</file>

<file path=ppt/theme/theme9.xml><?xml version="1.0" encoding="utf-8"?>
<a:theme xmlns:a="http://schemas.openxmlformats.org/drawingml/2006/main" name="4_BRG Advanced">
  <a:themeElements>
    <a:clrScheme name="BRG Basic">
      <a:dk1>
        <a:sysClr val="windowText" lastClr="000000"/>
      </a:dk1>
      <a:lt1>
        <a:sysClr val="window" lastClr="FFFFFF"/>
      </a:lt1>
      <a:dk2>
        <a:srgbClr val="FF7487"/>
      </a:dk2>
      <a:lt2>
        <a:srgbClr val="948AF2"/>
      </a:lt2>
      <a:accent1>
        <a:srgbClr val="1D4F78"/>
      </a:accent1>
      <a:accent2>
        <a:srgbClr val="0094D8"/>
      </a:accent2>
      <a:accent3>
        <a:srgbClr val="66C1BF"/>
      </a:accent3>
      <a:accent4>
        <a:srgbClr val="66BDE6"/>
      </a:accent4>
      <a:accent5>
        <a:srgbClr val="A2D8D7"/>
      </a:accent5>
      <a:accent6>
        <a:srgbClr val="A3BDC7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 ht-25 ver 1-BOOK-Q0Q2430FNE" id="{E97731FF-AE5C-4F80-A0DC-8544E70184E0}" vid="{B4C0127C-A510-4024-A9FD-5E4628AB831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16A92000201544F9D267C49C52F4A04" ma:contentTypeVersion="8" ma:contentTypeDescription="Skapa ett nytt dokument." ma:contentTypeScope="" ma:versionID="e8186960f5005521e42ad5b78c025e25">
  <xsd:schema xmlns:xsd="http://www.w3.org/2001/XMLSchema" xmlns:xs="http://www.w3.org/2001/XMLSchema" xmlns:p="http://schemas.microsoft.com/office/2006/metadata/properties" xmlns:ns2="c14830de-8ea5-41ee-a0d2-cef36d32dd58" xmlns:ns3="059b457e-ae0d-48bb-b90e-7b883d6bd4f4" targetNamespace="http://schemas.microsoft.com/office/2006/metadata/properties" ma:root="true" ma:fieldsID="3df3fe5d8cb36502f41ae741024f6fd8" ns2:_="" ns3:_="">
    <xsd:import namespace="c14830de-8ea5-41ee-a0d2-cef36d32dd58"/>
    <xsd:import namespace="059b457e-ae0d-48bb-b90e-7b883d6bd4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4830de-8ea5-41ee-a0d2-cef36d32dd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9b457e-ae0d-48bb-b90e-7b883d6bd4f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A1BE4E1-9839-4536-9A8C-77BAF10148ED}"/>
</file>

<file path=customXml/itemProps2.xml><?xml version="1.0" encoding="utf-8"?>
<ds:datastoreItem xmlns:ds="http://schemas.openxmlformats.org/officeDocument/2006/customXml" ds:itemID="{BE581B09-38A1-4104-82D8-50C589767C9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A82822-267C-4AA6-BD2A-9B014F9E1AB7}">
  <ds:schemaRefs>
    <ds:schemaRef ds:uri="http://purl.org/dc/elements/1.1/"/>
    <ds:schemaRef ds:uri="http://schemas.microsoft.com/office/2006/metadata/properties"/>
    <ds:schemaRef ds:uri="81115a79-ed71-43f8-af43-5c3a25bdf01a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infopath/2007/PartnerControls"/>
    <ds:schemaRef ds:uri="18018ebf-c118-4457-bc4c-627bb2cda996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örslag PPT-mall 2025 vers 3</Template>
  <TotalTime>0</TotalTime>
  <Words>775</Words>
  <Application>Microsoft Office PowerPoint</Application>
  <PresentationFormat>Bredbild</PresentationFormat>
  <Paragraphs>195</Paragraphs>
  <Slides>18</Slides>
  <Notes>9</Notes>
  <HiddenSlides>1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9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8</vt:i4>
      </vt:variant>
    </vt:vector>
  </HeadingPairs>
  <TitlesOfParts>
    <vt:vector size="32" baseType="lpstr">
      <vt:lpstr>Arial</vt:lpstr>
      <vt:lpstr>Arial Rounded MT Bold</vt:lpstr>
      <vt:lpstr>Calibri</vt:lpstr>
      <vt:lpstr>Galaxie Polaris Medium</vt:lpstr>
      <vt:lpstr>BRG Basic</vt:lpstr>
      <vt:lpstr>BRG Mörkblå</vt:lpstr>
      <vt:lpstr>BRG Lila</vt:lpstr>
      <vt:lpstr>BRG Turkos</vt:lpstr>
      <vt:lpstr>BRG Ljusblå</vt:lpstr>
      <vt:lpstr>BRG Advanced</vt:lpstr>
      <vt:lpstr>1_BRG Basic</vt:lpstr>
      <vt:lpstr>1_BRG Advanced</vt:lpstr>
      <vt:lpstr>4_BRG Advanced</vt:lpstr>
      <vt:lpstr>think-cell Slide</vt:lpstr>
      <vt:lpstr>Göteborgs Stads näringslivsstrategiska program</vt:lpstr>
      <vt:lpstr>Agenda</vt:lpstr>
      <vt:lpstr>Utfall handlingsplan 3 Göteborg Stad - 2024-25. </vt:lpstr>
      <vt:lpstr>Ex på lyckade aktiviteter: </vt:lpstr>
      <vt:lpstr>Ex på lyckade aktiviteter: </vt:lpstr>
      <vt:lpstr>Ex på lyckade aktiviteter:</vt:lpstr>
      <vt:lpstr>2.Utfall reg vp 2025</vt:lpstr>
      <vt:lpstr>Utfall regional vp 2025</vt:lpstr>
      <vt:lpstr>Vad kan vi göra tillsammans regionalt?</vt:lpstr>
      <vt:lpstr>3. Revidering 2026-27</vt:lpstr>
      <vt:lpstr>Revideringsprocess 2026-27</vt:lpstr>
      <vt:lpstr>Angreppssätt</vt:lpstr>
      <vt:lpstr>Från fakta till aktivitet</vt:lpstr>
      <vt:lpstr>Långsiktiga utmaningar för regionens näringsliv…</vt:lpstr>
      <vt:lpstr>4. Stormöte för näringslivsstrategiska programmet 13 april</vt:lpstr>
      <vt:lpstr> Stormöte 13 april (från BRG deltar lg samt processledare) 13.00 - 16.00 mingel till 17.00</vt:lpstr>
      <vt:lpstr>5.Företagsbesöksdagen 2026 går av stapeln 6 okt. Hela BRG:s styrelse inbjudna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ie Gumabon</dc:creator>
  <cp:lastModifiedBy>Jessica Nilsson</cp:lastModifiedBy>
  <cp:revision>2</cp:revision>
  <cp:lastPrinted>2025-09-02T13:42:02Z</cp:lastPrinted>
  <dcterms:created xsi:type="dcterms:W3CDTF">2025-06-12T13:04:55Z</dcterms:created>
  <dcterms:modified xsi:type="dcterms:W3CDTF">2026-02-12T10:0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6A92000201544F9D267C49C52F4A04</vt:lpwstr>
  </property>
  <property fmtid="{D5CDD505-2E9C-101B-9397-08002B2CF9AE}" pid="3" name="MediaServiceImageTags">
    <vt:lpwstr/>
  </property>
</Properties>
</file>